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9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2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21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4.xml" ContentType="application/vnd.openxmlformats-officedocument.theme+xml"/>
  <Override PartName="/ppt/theme/theme2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472" r:id="rId19"/>
    <p:sldMasterId id="2147484603" r:id="rId20"/>
    <p:sldMasterId id="2147484672" r:id="rId21"/>
    <p:sldMasterId id="2147484680" r:id="rId22"/>
    <p:sldMasterId id="2147484708" r:id="rId23"/>
    <p:sldMasterId id="2147484842" r:id="rId24"/>
    <p:sldMasterId id="2147484848" r:id="rId25"/>
    <p:sldMasterId id="2147484851" r:id="rId26"/>
  </p:sldMasterIdLst>
  <p:notesMasterIdLst>
    <p:notesMasterId r:id="rId40"/>
  </p:notesMasterIdLst>
  <p:handoutMasterIdLst>
    <p:handoutMasterId r:id="rId41"/>
  </p:handoutMasterIdLst>
  <p:sldIdLst>
    <p:sldId id="987" r:id="rId27"/>
    <p:sldId id="995" r:id="rId28"/>
    <p:sldId id="1023" r:id="rId29"/>
    <p:sldId id="998" r:id="rId30"/>
    <p:sldId id="997" r:id="rId31"/>
    <p:sldId id="1014" r:id="rId32"/>
    <p:sldId id="1005" r:id="rId33"/>
    <p:sldId id="1021" r:id="rId34"/>
    <p:sldId id="1015" r:id="rId35"/>
    <p:sldId id="1002" r:id="rId36"/>
    <p:sldId id="1018" r:id="rId37"/>
    <p:sldId id="1022" r:id="rId38"/>
    <p:sldId id="1001" r:id="rId39"/>
  </p:sldIdLst>
  <p:sldSz cx="9144000" cy="6858000" type="screen4x3"/>
  <p:notesSz cx="7010400" cy="92964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57" autoAdjust="0"/>
    <p:restoredTop sz="84410" autoAdjust="0"/>
  </p:normalViewPr>
  <p:slideViewPr>
    <p:cSldViewPr>
      <p:cViewPr varScale="1">
        <p:scale>
          <a:sx n="76" d="100"/>
          <a:sy n="76" d="100"/>
        </p:scale>
        <p:origin x="1866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68" d="100"/>
          <a:sy n="68" d="100"/>
        </p:scale>
        <p:origin x="3258" y="5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8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3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VBA.VA.GOV\RO\VBACO\CO2\Shared\LGY-26\262\JBell3\Presentations%20and%20Briefings\Loan%20Volume%20chart%20for%20LGY%20101%20briefing%20(jb3)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Purchase</c:v>
                </c:pt>
              </c:strCache>
            </c:strRef>
          </c:tx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3BCC-4598-9CEC-FBD78FC94AF7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CC-4598-9CEC-FBD78FC94AF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CC-4598-9CEC-FBD78FC94AF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BCC-4598-9CEC-FBD78FC94AF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CC-4598-9CEC-FBD78FC94AF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BCC-4598-9CEC-FBD78FC94AF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BCC-4598-9CEC-FBD78FC94AF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BCC-4598-9CEC-FBD78FC94AF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BCC-4598-9CEC-FBD78FC94AF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BCC-4598-9CEC-FBD78FC94AF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BCC-4598-9CEC-FBD78FC94AF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BCC-4598-9CEC-FBD78FC94AF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BCC-4598-9CEC-FBD78FC94AF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BCC-4598-9CEC-FBD78FC94AF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3BCC-4598-9CEC-FBD78FC94AF7}"/>
                </c:ext>
              </c:extLst>
            </c:dLbl>
            <c:dLbl>
              <c:idx val="15"/>
              <c:layout>
                <c:manualLayout>
                  <c:x val="-4.4481508476529354E-3"/>
                  <c:y val="-8.19252300034705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BCC-4598-9CEC-FBD78FC94A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strCache>
            </c:strRef>
          </c:cat>
          <c:val>
            <c:numRef>
              <c:f>Sheet1!$B$2:$Q$2</c:f>
              <c:numCache>
                <c:formatCode>General</c:formatCode>
                <c:ptCount val="16"/>
                <c:pt idx="0">
                  <c:v>148614</c:v>
                </c:pt>
                <c:pt idx="1">
                  <c:v>152197</c:v>
                </c:pt>
                <c:pt idx="2">
                  <c:v>119292</c:v>
                </c:pt>
                <c:pt idx="3">
                  <c:v>122581</c:v>
                </c:pt>
                <c:pt idx="4">
                  <c:v>117934</c:v>
                </c:pt>
                <c:pt idx="5" formatCode="#,##0">
                  <c:v>142354</c:v>
                </c:pt>
                <c:pt idx="6" formatCode="#,##0">
                  <c:v>180885</c:v>
                </c:pt>
                <c:pt idx="7" formatCode="#,##0">
                  <c:v>192616</c:v>
                </c:pt>
                <c:pt idx="8" formatCode="#,##0">
                  <c:v>186582</c:v>
                </c:pt>
                <c:pt idx="9" formatCode="#,##0">
                  <c:v>201853</c:v>
                </c:pt>
                <c:pt idx="10" formatCode="#,##0">
                  <c:v>241205</c:v>
                </c:pt>
                <c:pt idx="11" formatCode="#,##0">
                  <c:v>271701</c:v>
                </c:pt>
                <c:pt idx="12" formatCode="#,##0">
                  <c:v>322115</c:v>
                </c:pt>
                <c:pt idx="13" formatCode="#,##0">
                  <c:v>353002</c:v>
                </c:pt>
                <c:pt idx="14" formatCode="#,##0">
                  <c:v>380437</c:v>
                </c:pt>
                <c:pt idx="15" formatCode="#,##0">
                  <c:v>3831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3BCC-4598-9CEC-FBD78FC94AF7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Cash-out</c:v>
                </c:pt>
              </c:strCache>
            </c:strRef>
          </c:tx>
          <c:marker>
            <c:symbol val="none"/>
          </c:marker>
          <c:dLbls>
            <c:dLbl>
              <c:idx val="1"/>
              <c:layout>
                <c:manualLayout>
                  <c:x val="-8.0555555555555561E-2"/>
                  <c:y val="-5.55555555555555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3BCC-4598-9CEC-FBD78FC94AF7}"/>
                </c:ext>
              </c:extLst>
            </c:dLbl>
            <c:dLbl>
              <c:idx val="15"/>
              <c:layout>
                <c:manualLayout>
                  <c:x val="0"/>
                  <c:y val="-2.72506040959282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3BCC-4598-9CEC-FBD78FC94A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3"/>
                    </a:solidFill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strCache>
            </c:strRef>
          </c:cat>
          <c:val>
            <c:numRef>
              <c:f>Sheet1!$B$3:$Q$3</c:f>
              <c:numCache>
                <c:formatCode>General</c:formatCode>
                <c:ptCount val="16"/>
                <c:pt idx="0">
                  <c:v>10174</c:v>
                </c:pt>
                <c:pt idx="1">
                  <c:v>8221</c:v>
                </c:pt>
                <c:pt idx="2">
                  <c:v>5721</c:v>
                </c:pt>
                <c:pt idx="3">
                  <c:v>6215</c:v>
                </c:pt>
                <c:pt idx="4">
                  <c:v>5268</c:v>
                </c:pt>
                <c:pt idx="5" formatCode="#,##0">
                  <c:v>6943</c:v>
                </c:pt>
                <c:pt idx="6" formatCode="#,##0">
                  <c:v>22528</c:v>
                </c:pt>
                <c:pt idx="7" formatCode="#,##0">
                  <c:v>27042</c:v>
                </c:pt>
                <c:pt idx="8" formatCode="#,##0">
                  <c:v>35293</c:v>
                </c:pt>
                <c:pt idx="9" formatCode="#,##0">
                  <c:v>56526</c:v>
                </c:pt>
                <c:pt idx="10" formatCode="#,##0">
                  <c:v>79774</c:v>
                </c:pt>
                <c:pt idx="11" formatCode="#,##0">
                  <c:v>72523</c:v>
                </c:pt>
                <c:pt idx="12" formatCode="#,##0">
                  <c:v>114221</c:v>
                </c:pt>
                <c:pt idx="13" formatCode="#,##0">
                  <c:v>135379</c:v>
                </c:pt>
                <c:pt idx="14" formatCode="#,##0">
                  <c:v>166878</c:v>
                </c:pt>
                <c:pt idx="15" formatCode="#,##0">
                  <c:v>1588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3BCC-4598-9CEC-FBD78FC94AF7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IRRRL</c:v>
                </c:pt>
              </c:strCache>
            </c:strRef>
          </c:tx>
          <c:marker>
            <c:symbol val="none"/>
          </c:marker>
          <c:dLbls>
            <c:dLbl>
              <c:idx val="0"/>
              <c:layout>
                <c:manualLayout>
                  <c:x val="-4.4444444444444446E-2"/>
                  <c:y val="-2.31481481481481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3BCC-4598-9CEC-FBD78FC94AF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BCC-4598-9CEC-FBD78FC94AF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3BCC-4598-9CEC-FBD78FC94AF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3BCC-4598-9CEC-FBD78FC94AF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3BCC-4598-9CEC-FBD78FC94AF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3BCC-4598-9CEC-FBD78FC94AF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3BCC-4598-9CEC-FBD78FC94AF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3BCC-4598-9CEC-FBD78FC94AF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3BCC-4598-9CEC-FBD78FC94AF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3BCC-4598-9CEC-FBD78FC94AF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3BCC-4598-9CEC-FBD78FC94AF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F-3BCC-4598-9CEC-FBD78FC94AF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3BCC-4598-9CEC-FBD78FC94AF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1-3BCC-4598-9CEC-FBD78FC94AF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2-3BCC-4598-9CEC-FBD78FC94A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accent4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strCache>
            </c:strRef>
          </c:cat>
          <c:val>
            <c:numRef>
              <c:f>Sheet1!$B$4:$Q$4</c:f>
              <c:numCache>
                <c:formatCode>General</c:formatCode>
                <c:ptCount val="16"/>
                <c:pt idx="0">
                  <c:v>330317</c:v>
                </c:pt>
                <c:pt idx="1">
                  <c:v>174968</c:v>
                </c:pt>
                <c:pt idx="2">
                  <c:v>40972</c:v>
                </c:pt>
                <c:pt idx="3">
                  <c:v>13870</c:v>
                </c:pt>
                <c:pt idx="4">
                  <c:v>10089</c:v>
                </c:pt>
                <c:pt idx="5" formatCode="#,##0">
                  <c:v>30341</c:v>
                </c:pt>
                <c:pt idx="6" formatCode="#,##0">
                  <c:v>122222</c:v>
                </c:pt>
                <c:pt idx="7" formatCode="#,##0">
                  <c:v>94328</c:v>
                </c:pt>
                <c:pt idx="8" formatCode="#,##0">
                  <c:v>135696</c:v>
                </c:pt>
                <c:pt idx="9" formatCode="#,##0">
                  <c:v>281481</c:v>
                </c:pt>
                <c:pt idx="10" formatCode="#,##0">
                  <c:v>308333</c:v>
                </c:pt>
                <c:pt idx="11" formatCode="#,##0">
                  <c:v>94174</c:v>
                </c:pt>
                <c:pt idx="12" formatCode="#,##0">
                  <c:v>194806</c:v>
                </c:pt>
                <c:pt idx="13" formatCode="#,##0">
                  <c:v>215561</c:v>
                </c:pt>
                <c:pt idx="14" formatCode="#,##0">
                  <c:v>190913</c:v>
                </c:pt>
                <c:pt idx="15" formatCode="#,##0">
                  <c:v>6734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23-3BCC-4598-9CEC-FBD78FC94AF7}"/>
            </c:ext>
          </c:extLst>
        </c:ser>
        <c:ser>
          <c:idx val="4"/>
          <c:order val="3"/>
          <c:tx>
            <c:strRef>
              <c:f>Sheet1!$A$5</c:f>
              <c:strCache>
                <c:ptCount val="1"/>
                <c:pt idx="0">
                  <c:v>Total</c:v>
                </c:pt>
              </c:strCache>
            </c:strRef>
          </c:tx>
          <c:marker>
            <c:symbol val="none"/>
          </c:marker>
          <c:dPt>
            <c:idx val="0"/>
            <c:marker>
              <c:symbol val="star"/>
              <c:size val="5"/>
            </c:marker>
            <c:bubble3D val="0"/>
            <c:extLst>
              <c:ext xmlns:c16="http://schemas.microsoft.com/office/drawing/2014/chart" uri="{C3380CC4-5D6E-409C-BE32-E72D297353CC}">
                <c16:uniqueId val="{00000024-3BCC-4598-9CEC-FBD78FC94AF7}"/>
              </c:ext>
            </c:extLst>
          </c:dPt>
          <c:dLbls>
            <c:dLbl>
              <c:idx val="0"/>
              <c:layout>
                <c:manualLayout>
                  <c:x val="-3.3333333333333333E-2"/>
                  <c:y val="-5.555555555555555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4-3BCC-4598-9CEC-FBD78FC94AF7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5-3BCC-4598-9CEC-FBD78FC94AF7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6-3BCC-4598-9CEC-FBD78FC94AF7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7-3BCC-4598-9CEC-FBD78FC94AF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8-3BCC-4598-9CEC-FBD78FC94AF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9-3BCC-4598-9CEC-FBD78FC94AF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A-3BCC-4598-9CEC-FBD78FC94AF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B-3BCC-4598-9CEC-FBD78FC94AF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C-3BCC-4598-9CEC-FBD78FC94AF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D-3BCC-4598-9CEC-FBD78FC94AF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E-3BCC-4598-9CEC-FBD78FC94AF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F-3BCC-4598-9CEC-FBD78FC94AF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0-3BCC-4598-9CEC-FBD78FC94AF7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1-3BCC-4598-9CEC-FBD78FC94AF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2-3BCC-4598-9CEC-FBD78FC94AF7}"/>
                </c:ext>
              </c:extLst>
            </c:dLbl>
            <c:dLbl>
              <c:idx val="15"/>
              <c:layout>
                <c:manualLayout>
                  <c:x val="-4.4481508476529354E-3"/>
                  <c:y val="-1.81770797719511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3-3BCC-4598-9CEC-FBD78FC94AF7}"/>
                </c:ext>
              </c:extLst>
            </c:dLbl>
            <c:spPr>
              <a:effectLst>
                <a:outerShdw blurRad="50800" dist="50800" dir="5400000" algn="ctr" rotWithShape="0">
                  <a:schemeClr val="bg1"/>
                </a:outerShdw>
              </a:effectLst>
            </c:spPr>
            <c:txPr>
              <a:bodyPr/>
              <a:lstStyle/>
              <a:p>
                <a:pPr>
                  <a:defRPr sz="800">
                    <a:solidFill>
                      <a:schemeClr val="accent5"/>
                    </a:solidFill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Q$1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</c:v>
                </c:pt>
                <c:pt idx="14">
                  <c:v>2017</c:v>
                </c:pt>
                <c:pt idx="15">
                  <c:v>2018</c:v>
                </c:pt>
              </c:strCache>
            </c:strRef>
          </c:cat>
          <c:val>
            <c:numRef>
              <c:f>Sheet1!$B$5:$Q$5</c:f>
              <c:numCache>
                <c:formatCode>General</c:formatCode>
                <c:ptCount val="16"/>
                <c:pt idx="0">
                  <c:v>489105</c:v>
                </c:pt>
                <c:pt idx="1">
                  <c:v>335386</c:v>
                </c:pt>
                <c:pt idx="2">
                  <c:v>165985</c:v>
                </c:pt>
                <c:pt idx="3">
                  <c:v>142666</c:v>
                </c:pt>
                <c:pt idx="4">
                  <c:v>133291</c:v>
                </c:pt>
                <c:pt idx="5">
                  <c:v>179638</c:v>
                </c:pt>
                <c:pt idx="6">
                  <c:v>325644</c:v>
                </c:pt>
                <c:pt idx="7" formatCode="#,##0">
                  <c:v>313986</c:v>
                </c:pt>
                <c:pt idx="8" formatCode="#,##0">
                  <c:v>357571</c:v>
                </c:pt>
                <c:pt idx="9" formatCode="#,##0">
                  <c:v>539864</c:v>
                </c:pt>
                <c:pt idx="10" formatCode="#,##0">
                  <c:v>629312</c:v>
                </c:pt>
                <c:pt idx="11" formatCode="#,##0">
                  <c:v>438398</c:v>
                </c:pt>
                <c:pt idx="12" formatCode="#,##0">
                  <c:v>631142</c:v>
                </c:pt>
                <c:pt idx="13" formatCode="#,##0">
                  <c:v>705474</c:v>
                </c:pt>
                <c:pt idx="14" formatCode="#,##0">
                  <c:v>740388</c:v>
                </c:pt>
                <c:pt idx="15" formatCode="#,##0">
                  <c:v>6105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34-3BCC-4598-9CEC-FBD78FC94A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0476800"/>
        <c:axId val="100478336"/>
      </c:lineChart>
      <c:catAx>
        <c:axId val="100476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00478336"/>
        <c:crosses val="autoZero"/>
        <c:auto val="1"/>
        <c:lblAlgn val="ctr"/>
        <c:lblOffset val="100"/>
        <c:tickLblSkip val="3"/>
        <c:tickMarkSkip val="2"/>
        <c:noMultiLvlLbl val="0"/>
      </c:catAx>
      <c:valAx>
        <c:axId val="10047833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04768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8820409228951092"/>
          <c:y val="3.2201079418191919E-2"/>
          <c:w val="0.11179590771048907"/>
          <c:h val="0.28158303633035825"/>
        </c:manualLayout>
      </c:layout>
      <c:overlay val="0"/>
    </c:legend>
    <c:plotVisOnly val="1"/>
    <c:dispBlanksAs val="gap"/>
    <c:showDLblsOverMax val="0"/>
  </c:chart>
  <c:spPr>
    <a:ln>
      <a:solidFill>
        <a:schemeClr val="bg1">
          <a:lumMod val="85000"/>
        </a:schemeClr>
      </a:solidFill>
    </a:ln>
  </c:sp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1232A1-A549-4D05-9BCD-388414F4CC81}" type="doc">
      <dgm:prSet loTypeId="urn:microsoft.com/office/officeart/2005/8/layout/radial3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7DE075A9-23BF-4A8F-AACF-B551BCE33106}">
      <dgm:prSet phldrT="[Text]"/>
      <dgm:spPr/>
      <dgm:t>
        <a:bodyPr/>
        <a:lstStyle/>
        <a:p>
          <a:r>
            <a:rPr lang="en-US" dirty="0"/>
            <a:t>Veteran Centric</a:t>
          </a:r>
        </a:p>
      </dgm:t>
    </dgm:pt>
    <dgm:pt modelId="{69C97843-6304-450B-A784-27189AA09D9C}" type="parTrans" cxnId="{B856466A-834B-4FE8-86C0-C239E5F47DBB}">
      <dgm:prSet/>
      <dgm:spPr/>
      <dgm:t>
        <a:bodyPr/>
        <a:lstStyle/>
        <a:p>
          <a:endParaRPr lang="en-US"/>
        </a:p>
      </dgm:t>
    </dgm:pt>
    <dgm:pt modelId="{1A78B08D-64C9-44B2-8404-32649DBF2A88}" type="sibTrans" cxnId="{B856466A-834B-4FE8-86C0-C239E5F47DBB}">
      <dgm:prSet/>
      <dgm:spPr/>
      <dgm:t>
        <a:bodyPr/>
        <a:lstStyle/>
        <a:p>
          <a:endParaRPr lang="en-US"/>
        </a:p>
      </dgm:t>
    </dgm:pt>
    <dgm:pt modelId="{39C484A6-1D50-498C-B28D-08B1EE34BDC6}">
      <dgm:prSet phldrT="[Text]" custT="1"/>
      <dgm:spPr/>
      <dgm:t>
        <a:bodyPr/>
        <a:lstStyle/>
        <a:p>
          <a:r>
            <a:rPr lang="en-US" sz="1400" dirty="0"/>
            <a:t>Automation</a:t>
          </a:r>
        </a:p>
      </dgm:t>
    </dgm:pt>
    <dgm:pt modelId="{B5E9EC1B-A834-4A7B-B535-02E8EBCE16D5}" type="parTrans" cxnId="{727CF893-5E66-4399-B61D-6FD07DD01955}">
      <dgm:prSet/>
      <dgm:spPr/>
      <dgm:t>
        <a:bodyPr/>
        <a:lstStyle/>
        <a:p>
          <a:endParaRPr lang="en-US"/>
        </a:p>
      </dgm:t>
    </dgm:pt>
    <dgm:pt modelId="{A96EED8A-0491-4D5B-BAAC-DFA554B446EB}" type="sibTrans" cxnId="{727CF893-5E66-4399-B61D-6FD07DD01955}">
      <dgm:prSet/>
      <dgm:spPr/>
      <dgm:t>
        <a:bodyPr/>
        <a:lstStyle/>
        <a:p>
          <a:endParaRPr lang="en-US"/>
        </a:p>
      </dgm:t>
    </dgm:pt>
    <dgm:pt modelId="{E21DFADA-E327-4AD4-AA47-AED84D1F9F88}">
      <dgm:prSet phldrT="[Text]" custT="1"/>
      <dgm:spPr/>
      <dgm:t>
        <a:bodyPr/>
        <a:lstStyle/>
        <a:p>
          <a:r>
            <a:rPr lang="en-US" sz="1200" dirty="0"/>
            <a:t>Customer Relationships</a:t>
          </a:r>
        </a:p>
        <a:p>
          <a:r>
            <a:rPr lang="en-US" sz="1200" dirty="0"/>
            <a:t>Supply Chain Management</a:t>
          </a:r>
        </a:p>
      </dgm:t>
    </dgm:pt>
    <dgm:pt modelId="{AF77CE16-5884-4145-9CC2-F261FF5D8F55}" type="parTrans" cxnId="{68A5C15A-F505-49E8-B793-C226AFE8A936}">
      <dgm:prSet/>
      <dgm:spPr/>
      <dgm:t>
        <a:bodyPr/>
        <a:lstStyle/>
        <a:p>
          <a:endParaRPr lang="en-US"/>
        </a:p>
      </dgm:t>
    </dgm:pt>
    <dgm:pt modelId="{C4DC4FE9-0400-4C54-856A-19241CBD20A2}" type="sibTrans" cxnId="{68A5C15A-F505-49E8-B793-C226AFE8A936}">
      <dgm:prSet/>
      <dgm:spPr/>
      <dgm:t>
        <a:bodyPr/>
        <a:lstStyle/>
        <a:p>
          <a:endParaRPr lang="en-US"/>
        </a:p>
      </dgm:t>
    </dgm:pt>
    <dgm:pt modelId="{966F46EB-7BC3-44F6-9B7A-2777C1ACF3BB}">
      <dgm:prSet phldrT="[Text]" custT="1"/>
      <dgm:spPr/>
      <dgm:t>
        <a:bodyPr/>
        <a:lstStyle/>
        <a:p>
          <a:r>
            <a:rPr lang="en-US" sz="1400" dirty="0"/>
            <a:t>Creating a CI Culture</a:t>
          </a:r>
        </a:p>
      </dgm:t>
    </dgm:pt>
    <dgm:pt modelId="{A85E43B4-9A39-4F41-B36D-05ED9D6D3564}" type="parTrans" cxnId="{F01FC9A3-9CC0-43E0-83FB-3E3B89DED019}">
      <dgm:prSet/>
      <dgm:spPr/>
      <dgm:t>
        <a:bodyPr/>
        <a:lstStyle/>
        <a:p>
          <a:endParaRPr lang="en-US"/>
        </a:p>
      </dgm:t>
    </dgm:pt>
    <dgm:pt modelId="{6B9A0316-D7F5-49BA-82F9-B9197C8980BD}" type="sibTrans" cxnId="{F01FC9A3-9CC0-43E0-83FB-3E3B89DED019}">
      <dgm:prSet/>
      <dgm:spPr/>
      <dgm:t>
        <a:bodyPr/>
        <a:lstStyle/>
        <a:p>
          <a:endParaRPr lang="en-US"/>
        </a:p>
      </dgm:t>
    </dgm:pt>
    <dgm:pt modelId="{44F4BB4E-22CC-4D02-9B36-46D87647F95C}">
      <dgm:prSet phldrT="[Text]" custT="1"/>
      <dgm:spPr/>
      <dgm:t>
        <a:bodyPr/>
        <a:lstStyle/>
        <a:p>
          <a:r>
            <a:rPr lang="en-US" sz="1400" dirty="0"/>
            <a:t>Data-Driven</a:t>
          </a:r>
        </a:p>
        <a:p>
          <a:r>
            <a:rPr lang="en-US" sz="1400" dirty="0"/>
            <a:t>Decisions</a:t>
          </a:r>
        </a:p>
      </dgm:t>
    </dgm:pt>
    <dgm:pt modelId="{894E8AC0-AB37-46A2-8393-FEA19D2FD932}" type="parTrans" cxnId="{180F63C2-3B76-463E-BC09-31B3D82A2AC3}">
      <dgm:prSet/>
      <dgm:spPr/>
      <dgm:t>
        <a:bodyPr/>
        <a:lstStyle/>
        <a:p>
          <a:endParaRPr lang="en-US"/>
        </a:p>
      </dgm:t>
    </dgm:pt>
    <dgm:pt modelId="{BCF4160F-3743-494C-992C-58C5A29FB1D2}" type="sibTrans" cxnId="{180F63C2-3B76-463E-BC09-31B3D82A2AC3}">
      <dgm:prSet/>
      <dgm:spPr/>
      <dgm:t>
        <a:bodyPr/>
        <a:lstStyle/>
        <a:p>
          <a:endParaRPr lang="en-US"/>
        </a:p>
      </dgm:t>
    </dgm:pt>
    <dgm:pt modelId="{F0207A63-24E5-4CDF-A7E7-6EF44184D38D}" type="pres">
      <dgm:prSet presAssocID="{B91232A1-A549-4D05-9BCD-388414F4CC81}" presName="composite" presStyleCnt="0">
        <dgm:presLayoutVars>
          <dgm:chMax val="1"/>
          <dgm:dir/>
          <dgm:resizeHandles val="exact"/>
        </dgm:presLayoutVars>
      </dgm:prSet>
      <dgm:spPr/>
    </dgm:pt>
    <dgm:pt modelId="{BE6F78D8-3D95-4C7F-BEF7-2853D4FBDA6B}" type="pres">
      <dgm:prSet presAssocID="{B91232A1-A549-4D05-9BCD-388414F4CC81}" presName="radial" presStyleCnt="0">
        <dgm:presLayoutVars>
          <dgm:animLvl val="ctr"/>
        </dgm:presLayoutVars>
      </dgm:prSet>
      <dgm:spPr/>
    </dgm:pt>
    <dgm:pt modelId="{8C901A84-6604-496B-B984-FEF0A2563C39}" type="pres">
      <dgm:prSet presAssocID="{7DE075A9-23BF-4A8F-AACF-B551BCE33106}" presName="centerShape" presStyleLbl="vennNode1" presStyleIdx="0" presStyleCnt="5"/>
      <dgm:spPr/>
    </dgm:pt>
    <dgm:pt modelId="{1559240B-8E0E-482D-A5E7-3FBBF73B29E1}" type="pres">
      <dgm:prSet presAssocID="{39C484A6-1D50-498C-B28D-08B1EE34BDC6}" presName="node" presStyleLbl="vennNode1" presStyleIdx="1" presStyleCnt="5">
        <dgm:presLayoutVars>
          <dgm:bulletEnabled val="1"/>
        </dgm:presLayoutVars>
      </dgm:prSet>
      <dgm:spPr/>
    </dgm:pt>
    <dgm:pt modelId="{1C1C1BC4-D082-4058-BDFC-82AFF88D9287}" type="pres">
      <dgm:prSet presAssocID="{E21DFADA-E327-4AD4-AA47-AED84D1F9F88}" presName="node" presStyleLbl="vennNode1" presStyleIdx="2" presStyleCnt="5">
        <dgm:presLayoutVars>
          <dgm:bulletEnabled val="1"/>
        </dgm:presLayoutVars>
      </dgm:prSet>
      <dgm:spPr/>
    </dgm:pt>
    <dgm:pt modelId="{F28DD3A3-ADDA-463E-9274-15993C915653}" type="pres">
      <dgm:prSet presAssocID="{966F46EB-7BC3-44F6-9B7A-2777C1ACF3BB}" presName="node" presStyleLbl="vennNode1" presStyleIdx="3" presStyleCnt="5">
        <dgm:presLayoutVars>
          <dgm:bulletEnabled val="1"/>
        </dgm:presLayoutVars>
      </dgm:prSet>
      <dgm:spPr/>
    </dgm:pt>
    <dgm:pt modelId="{003CBE39-0D3F-4C08-9689-880D4E1CDBF3}" type="pres">
      <dgm:prSet presAssocID="{44F4BB4E-22CC-4D02-9B36-46D87647F95C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DCF7B903-4840-4AEB-A7B9-150BACB97E24}" type="presOf" srcId="{966F46EB-7BC3-44F6-9B7A-2777C1ACF3BB}" destId="{F28DD3A3-ADDA-463E-9274-15993C915653}" srcOrd="0" destOrd="0" presId="urn:microsoft.com/office/officeart/2005/8/layout/radial3"/>
    <dgm:cxn modelId="{154ADC2C-FD90-4440-ABFC-148844D1D007}" type="presOf" srcId="{7DE075A9-23BF-4A8F-AACF-B551BCE33106}" destId="{8C901A84-6604-496B-B984-FEF0A2563C39}" srcOrd="0" destOrd="0" presId="urn:microsoft.com/office/officeart/2005/8/layout/radial3"/>
    <dgm:cxn modelId="{B856466A-834B-4FE8-86C0-C239E5F47DBB}" srcId="{B91232A1-A549-4D05-9BCD-388414F4CC81}" destId="{7DE075A9-23BF-4A8F-AACF-B551BCE33106}" srcOrd="0" destOrd="0" parTransId="{69C97843-6304-450B-A784-27189AA09D9C}" sibTransId="{1A78B08D-64C9-44B2-8404-32649DBF2A88}"/>
    <dgm:cxn modelId="{6414D873-4725-4A59-A555-DBAB2E73084E}" type="presOf" srcId="{E21DFADA-E327-4AD4-AA47-AED84D1F9F88}" destId="{1C1C1BC4-D082-4058-BDFC-82AFF88D9287}" srcOrd="0" destOrd="0" presId="urn:microsoft.com/office/officeart/2005/8/layout/radial3"/>
    <dgm:cxn modelId="{68A5C15A-F505-49E8-B793-C226AFE8A936}" srcId="{7DE075A9-23BF-4A8F-AACF-B551BCE33106}" destId="{E21DFADA-E327-4AD4-AA47-AED84D1F9F88}" srcOrd="1" destOrd="0" parTransId="{AF77CE16-5884-4145-9CC2-F261FF5D8F55}" sibTransId="{C4DC4FE9-0400-4C54-856A-19241CBD20A2}"/>
    <dgm:cxn modelId="{661FCB8D-A03D-4BB7-9BB6-948A726AE2E4}" type="presOf" srcId="{39C484A6-1D50-498C-B28D-08B1EE34BDC6}" destId="{1559240B-8E0E-482D-A5E7-3FBBF73B29E1}" srcOrd="0" destOrd="0" presId="urn:microsoft.com/office/officeart/2005/8/layout/radial3"/>
    <dgm:cxn modelId="{727CF893-5E66-4399-B61D-6FD07DD01955}" srcId="{7DE075A9-23BF-4A8F-AACF-B551BCE33106}" destId="{39C484A6-1D50-498C-B28D-08B1EE34BDC6}" srcOrd="0" destOrd="0" parTransId="{B5E9EC1B-A834-4A7B-B535-02E8EBCE16D5}" sibTransId="{A96EED8A-0491-4D5B-BAAC-DFA554B446EB}"/>
    <dgm:cxn modelId="{E808609D-6B95-442F-91A4-9024BBC2FCDE}" type="presOf" srcId="{B91232A1-A549-4D05-9BCD-388414F4CC81}" destId="{F0207A63-24E5-4CDF-A7E7-6EF44184D38D}" srcOrd="0" destOrd="0" presId="urn:microsoft.com/office/officeart/2005/8/layout/radial3"/>
    <dgm:cxn modelId="{F01FC9A3-9CC0-43E0-83FB-3E3B89DED019}" srcId="{7DE075A9-23BF-4A8F-AACF-B551BCE33106}" destId="{966F46EB-7BC3-44F6-9B7A-2777C1ACF3BB}" srcOrd="2" destOrd="0" parTransId="{A85E43B4-9A39-4F41-B36D-05ED9D6D3564}" sibTransId="{6B9A0316-D7F5-49BA-82F9-B9197C8980BD}"/>
    <dgm:cxn modelId="{3950A1AF-C16B-46B8-9812-8A73DDEFD554}" type="presOf" srcId="{44F4BB4E-22CC-4D02-9B36-46D87647F95C}" destId="{003CBE39-0D3F-4C08-9689-880D4E1CDBF3}" srcOrd="0" destOrd="0" presId="urn:microsoft.com/office/officeart/2005/8/layout/radial3"/>
    <dgm:cxn modelId="{180F63C2-3B76-463E-BC09-31B3D82A2AC3}" srcId="{7DE075A9-23BF-4A8F-AACF-B551BCE33106}" destId="{44F4BB4E-22CC-4D02-9B36-46D87647F95C}" srcOrd="3" destOrd="0" parTransId="{894E8AC0-AB37-46A2-8393-FEA19D2FD932}" sibTransId="{BCF4160F-3743-494C-992C-58C5A29FB1D2}"/>
    <dgm:cxn modelId="{BEC6B05D-D9EC-42EA-9BCB-D065A3BAF789}" type="presParOf" srcId="{F0207A63-24E5-4CDF-A7E7-6EF44184D38D}" destId="{BE6F78D8-3D95-4C7F-BEF7-2853D4FBDA6B}" srcOrd="0" destOrd="0" presId="urn:microsoft.com/office/officeart/2005/8/layout/radial3"/>
    <dgm:cxn modelId="{895DA349-C05E-4BFB-ADE2-82B478B58CF2}" type="presParOf" srcId="{BE6F78D8-3D95-4C7F-BEF7-2853D4FBDA6B}" destId="{8C901A84-6604-496B-B984-FEF0A2563C39}" srcOrd="0" destOrd="0" presId="urn:microsoft.com/office/officeart/2005/8/layout/radial3"/>
    <dgm:cxn modelId="{41B388D3-E713-4EB0-BDF5-1E4DE3C02498}" type="presParOf" srcId="{BE6F78D8-3D95-4C7F-BEF7-2853D4FBDA6B}" destId="{1559240B-8E0E-482D-A5E7-3FBBF73B29E1}" srcOrd="1" destOrd="0" presId="urn:microsoft.com/office/officeart/2005/8/layout/radial3"/>
    <dgm:cxn modelId="{6FA1328D-9BB2-4B51-A327-3F864B7F6C02}" type="presParOf" srcId="{BE6F78D8-3D95-4C7F-BEF7-2853D4FBDA6B}" destId="{1C1C1BC4-D082-4058-BDFC-82AFF88D9287}" srcOrd="2" destOrd="0" presId="urn:microsoft.com/office/officeart/2005/8/layout/radial3"/>
    <dgm:cxn modelId="{C8E7356F-147D-4F4F-B6B8-E08E14A11259}" type="presParOf" srcId="{BE6F78D8-3D95-4C7F-BEF7-2853D4FBDA6B}" destId="{F28DD3A3-ADDA-463E-9274-15993C915653}" srcOrd="3" destOrd="0" presId="urn:microsoft.com/office/officeart/2005/8/layout/radial3"/>
    <dgm:cxn modelId="{DD77EDC5-6C13-433F-8B51-398D8411C8D2}" type="presParOf" srcId="{BE6F78D8-3D95-4C7F-BEF7-2853D4FBDA6B}" destId="{003CBE39-0D3F-4C08-9689-880D4E1CDBF3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4783E4-E527-47B9-A702-B4957DF700AB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64CF7FA-C342-4D01-AD90-B78DB2331FD7}">
      <dgm:prSet phldrT="[Text]"/>
      <dgm:spPr/>
      <dgm:t>
        <a:bodyPr/>
        <a:lstStyle/>
        <a:p>
          <a:r>
            <a:rPr lang="en-US" dirty="0"/>
            <a:t>Historical</a:t>
          </a:r>
        </a:p>
      </dgm:t>
    </dgm:pt>
    <dgm:pt modelId="{6E0C449A-536A-4BE0-955D-76D1A8D52589}" type="parTrans" cxnId="{94CAB82C-5409-46EB-8EAC-CC1FB59BEC95}">
      <dgm:prSet/>
      <dgm:spPr/>
      <dgm:t>
        <a:bodyPr/>
        <a:lstStyle/>
        <a:p>
          <a:endParaRPr lang="en-US"/>
        </a:p>
      </dgm:t>
    </dgm:pt>
    <dgm:pt modelId="{736C0F2E-9B2E-4EA8-BB35-14553DB700AD}" type="sibTrans" cxnId="{94CAB82C-5409-46EB-8EAC-CC1FB59BEC95}">
      <dgm:prSet/>
      <dgm:spPr/>
      <dgm:t>
        <a:bodyPr/>
        <a:lstStyle/>
        <a:p>
          <a:endParaRPr lang="en-US"/>
        </a:p>
      </dgm:t>
    </dgm:pt>
    <dgm:pt modelId="{0F193C22-AC84-4F33-99C6-36F38A83FBE7}">
      <dgm:prSet phldrT="[Text]"/>
      <dgm:spPr/>
      <dgm:t>
        <a:bodyPr/>
        <a:lstStyle/>
        <a:p>
          <a:r>
            <a:rPr lang="en-US" dirty="0"/>
            <a:t>23 Million loans since 1944 – totaling $2.1 Trillion</a:t>
          </a:r>
        </a:p>
      </dgm:t>
    </dgm:pt>
    <dgm:pt modelId="{14ADCFAF-7163-44B7-85E3-59FAB4EACDDF}" type="parTrans" cxnId="{72D9B9E3-6B60-48A4-AEC6-D21099DA0AD1}">
      <dgm:prSet/>
      <dgm:spPr/>
      <dgm:t>
        <a:bodyPr/>
        <a:lstStyle/>
        <a:p>
          <a:endParaRPr lang="en-US"/>
        </a:p>
      </dgm:t>
    </dgm:pt>
    <dgm:pt modelId="{E2B463BA-240A-44AE-9D46-1BEBEE70072D}" type="sibTrans" cxnId="{72D9B9E3-6B60-48A4-AEC6-D21099DA0AD1}">
      <dgm:prSet/>
      <dgm:spPr/>
      <dgm:t>
        <a:bodyPr/>
        <a:lstStyle/>
        <a:p>
          <a:endParaRPr lang="en-US"/>
        </a:p>
      </dgm:t>
    </dgm:pt>
    <dgm:pt modelId="{F9230081-5CF7-4341-85B4-A8B7FC67D589}">
      <dgm:prSet phldrT="[Text]"/>
      <dgm:spPr/>
      <dgm:t>
        <a:bodyPr/>
        <a:lstStyle/>
        <a:p>
          <a:r>
            <a:rPr lang="en-US" dirty="0"/>
            <a:t>FY18</a:t>
          </a:r>
        </a:p>
      </dgm:t>
    </dgm:pt>
    <dgm:pt modelId="{974BDD8C-FDC9-43B7-A02B-B3E94D4D4F89}" type="parTrans" cxnId="{375B3C2C-433C-4D1C-A76C-AE9002394A9C}">
      <dgm:prSet/>
      <dgm:spPr/>
      <dgm:t>
        <a:bodyPr/>
        <a:lstStyle/>
        <a:p>
          <a:endParaRPr lang="en-US"/>
        </a:p>
      </dgm:t>
    </dgm:pt>
    <dgm:pt modelId="{C41037B8-576A-478B-962D-513E17EC4627}" type="sibTrans" cxnId="{375B3C2C-433C-4D1C-A76C-AE9002394A9C}">
      <dgm:prSet/>
      <dgm:spPr/>
      <dgm:t>
        <a:bodyPr/>
        <a:lstStyle/>
        <a:p>
          <a:endParaRPr lang="en-US"/>
        </a:p>
      </dgm:t>
    </dgm:pt>
    <dgm:pt modelId="{190B73F5-5CA3-4ABA-B986-A0AEAE72BD06}">
      <dgm:prSet phldrT="[Text]"/>
      <dgm:spPr/>
      <dgm:t>
        <a:bodyPr/>
        <a:lstStyle/>
        <a:p>
          <a:r>
            <a:rPr lang="en-US" dirty="0"/>
            <a:t>In FY18, guaranteed 2,442 loans per business day, totaling $645M each day</a:t>
          </a:r>
        </a:p>
      </dgm:t>
    </dgm:pt>
    <dgm:pt modelId="{6E34DC46-F27D-48B4-AEB8-194BC9DB31D3}" type="parTrans" cxnId="{2DF9F71D-A144-47EA-AB04-80672AAC9275}">
      <dgm:prSet/>
      <dgm:spPr/>
      <dgm:t>
        <a:bodyPr/>
        <a:lstStyle/>
        <a:p>
          <a:endParaRPr lang="en-US"/>
        </a:p>
      </dgm:t>
    </dgm:pt>
    <dgm:pt modelId="{00110C4C-AB3C-42A6-87E3-AFABCF577F75}" type="sibTrans" cxnId="{2DF9F71D-A144-47EA-AB04-80672AAC9275}">
      <dgm:prSet/>
      <dgm:spPr/>
      <dgm:t>
        <a:bodyPr/>
        <a:lstStyle/>
        <a:p>
          <a:endParaRPr lang="en-US"/>
        </a:p>
      </dgm:t>
    </dgm:pt>
    <dgm:pt modelId="{51D2E571-E10E-422E-BAF8-1468FD7703E5}">
      <dgm:prSet phldrT="[Text]"/>
      <dgm:spPr/>
      <dgm:t>
        <a:bodyPr/>
        <a:lstStyle/>
        <a:p>
          <a:r>
            <a:rPr lang="en-US" dirty="0"/>
            <a:t>Foreclosure Rates</a:t>
          </a:r>
        </a:p>
      </dgm:t>
    </dgm:pt>
    <dgm:pt modelId="{417E9EB8-97C5-42C4-A1A8-08631F854747}" type="parTrans" cxnId="{1AD8801E-EFB2-4997-B9D6-3E07386FEFCD}">
      <dgm:prSet/>
      <dgm:spPr/>
      <dgm:t>
        <a:bodyPr/>
        <a:lstStyle/>
        <a:p>
          <a:endParaRPr lang="en-US"/>
        </a:p>
      </dgm:t>
    </dgm:pt>
    <dgm:pt modelId="{6C680B69-AD30-405B-9C03-2D95FAEC0C9F}" type="sibTrans" cxnId="{1AD8801E-EFB2-4997-B9D6-3E07386FEFCD}">
      <dgm:prSet/>
      <dgm:spPr/>
      <dgm:t>
        <a:bodyPr/>
        <a:lstStyle/>
        <a:p>
          <a:endParaRPr lang="en-US"/>
        </a:p>
      </dgm:t>
    </dgm:pt>
    <dgm:pt modelId="{A6379BF5-1DE7-45C3-BB7E-3A968057ED44}">
      <dgm:prSet phldrT="[Text]"/>
      <dgm:spPr/>
      <dgm:t>
        <a:bodyPr/>
        <a:lstStyle/>
        <a:p>
          <a:r>
            <a:rPr lang="en-US" dirty="0"/>
            <a:t>VA - Guaranteed loans maintained the 2</a:t>
          </a:r>
          <a:r>
            <a:rPr lang="en-US" baseline="30000" dirty="0"/>
            <a:t>nd</a:t>
          </a:r>
          <a:r>
            <a:rPr lang="en-US" dirty="0"/>
            <a:t> lowest foreclosure (0.87%) and SD rates (1.96%)in the industry Conventional loans are second.	</a:t>
          </a:r>
        </a:p>
      </dgm:t>
    </dgm:pt>
    <dgm:pt modelId="{CE9E415A-CCB8-4A02-B07D-F541980BDEEE}" type="parTrans" cxnId="{CA8C5E50-C733-4318-8D42-29FA981C5708}">
      <dgm:prSet/>
      <dgm:spPr/>
      <dgm:t>
        <a:bodyPr/>
        <a:lstStyle/>
        <a:p>
          <a:endParaRPr lang="en-US"/>
        </a:p>
      </dgm:t>
    </dgm:pt>
    <dgm:pt modelId="{1E1412CD-605E-40C5-9C3C-FE7857D7F69B}" type="sibTrans" cxnId="{CA8C5E50-C733-4318-8D42-29FA981C5708}">
      <dgm:prSet/>
      <dgm:spPr/>
      <dgm:t>
        <a:bodyPr/>
        <a:lstStyle/>
        <a:p>
          <a:endParaRPr lang="en-US"/>
        </a:p>
      </dgm:t>
    </dgm:pt>
    <dgm:pt modelId="{B56D69F0-AA01-4DDC-8685-C89B65BA3406}" type="pres">
      <dgm:prSet presAssocID="{CC4783E4-E527-47B9-A702-B4957DF700AB}" presName="theList" presStyleCnt="0">
        <dgm:presLayoutVars>
          <dgm:dir/>
          <dgm:animLvl val="lvl"/>
          <dgm:resizeHandles val="exact"/>
        </dgm:presLayoutVars>
      </dgm:prSet>
      <dgm:spPr/>
    </dgm:pt>
    <dgm:pt modelId="{D6AC6807-8837-40B0-A792-63908685CC1C}" type="pres">
      <dgm:prSet presAssocID="{A64CF7FA-C342-4D01-AD90-B78DB2331FD7}" presName="compNode" presStyleCnt="0"/>
      <dgm:spPr/>
    </dgm:pt>
    <dgm:pt modelId="{025C4C6A-6B77-49AF-8F32-2EBD63D6833D}" type="pres">
      <dgm:prSet presAssocID="{A64CF7FA-C342-4D01-AD90-B78DB2331FD7}" presName="aNode" presStyleLbl="bgShp" presStyleIdx="0" presStyleCnt="3"/>
      <dgm:spPr/>
    </dgm:pt>
    <dgm:pt modelId="{0D429886-391F-4EA2-8835-01D44A8E89E8}" type="pres">
      <dgm:prSet presAssocID="{A64CF7FA-C342-4D01-AD90-B78DB2331FD7}" presName="textNode" presStyleLbl="bgShp" presStyleIdx="0" presStyleCnt="3"/>
      <dgm:spPr/>
    </dgm:pt>
    <dgm:pt modelId="{76A63122-94B3-4D78-AF90-913C88B2B4AA}" type="pres">
      <dgm:prSet presAssocID="{A64CF7FA-C342-4D01-AD90-B78DB2331FD7}" presName="compChildNode" presStyleCnt="0"/>
      <dgm:spPr/>
    </dgm:pt>
    <dgm:pt modelId="{1B7609A1-2B23-498B-B5B5-BE272610F13B}" type="pres">
      <dgm:prSet presAssocID="{A64CF7FA-C342-4D01-AD90-B78DB2331FD7}" presName="theInnerList" presStyleCnt="0"/>
      <dgm:spPr/>
    </dgm:pt>
    <dgm:pt modelId="{C3A36CA8-E3BB-466A-B0A3-7A01C08E8EE6}" type="pres">
      <dgm:prSet presAssocID="{0F193C22-AC84-4F33-99C6-36F38A83FBE7}" presName="childNode" presStyleLbl="node1" presStyleIdx="0" presStyleCnt="3">
        <dgm:presLayoutVars>
          <dgm:bulletEnabled val="1"/>
        </dgm:presLayoutVars>
      </dgm:prSet>
      <dgm:spPr/>
    </dgm:pt>
    <dgm:pt modelId="{CAB81BBC-B16E-4AEC-A088-9E259B8DC30E}" type="pres">
      <dgm:prSet presAssocID="{A64CF7FA-C342-4D01-AD90-B78DB2331FD7}" presName="aSpace" presStyleCnt="0"/>
      <dgm:spPr/>
    </dgm:pt>
    <dgm:pt modelId="{FBB2F4A5-39A7-4121-8706-52A24C25D715}" type="pres">
      <dgm:prSet presAssocID="{F9230081-5CF7-4341-85B4-A8B7FC67D589}" presName="compNode" presStyleCnt="0"/>
      <dgm:spPr/>
    </dgm:pt>
    <dgm:pt modelId="{E8C4D44B-F10F-4354-83AE-52976331134C}" type="pres">
      <dgm:prSet presAssocID="{F9230081-5CF7-4341-85B4-A8B7FC67D589}" presName="aNode" presStyleLbl="bgShp" presStyleIdx="1" presStyleCnt="3"/>
      <dgm:spPr/>
    </dgm:pt>
    <dgm:pt modelId="{12079082-81BD-47D2-9A9F-1CDA73F62CDE}" type="pres">
      <dgm:prSet presAssocID="{F9230081-5CF7-4341-85B4-A8B7FC67D589}" presName="textNode" presStyleLbl="bgShp" presStyleIdx="1" presStyleCnt="3"/>
      <dgm:spPr/>
    </dgm:pt>
    <dgm:pt modelId="{0AD0166F-83A9-40DE-95B7-C672B201450A}" type="pres">
      <dgm:prSet presAssocID="{F9230081-5CF7-4341-85B4-A8B7FC67D589}" presName="compChildNode" presStyleCnt="0"/>
      <dgm:spPr/>
    </dgm:pt>
    <dgm:pt modelId="{DB3DA865-2091-4B9F-B55B-04B6CFC2428F}" type="pres">
      <dgm:prSet presAssocID="{F9230081-5CF7-4341-85B4-A8B7FC67D589}" presName="theInnerList" presStyleCnt="0"/>
      <dgm:spPr/>
    </dgm:pt>
    <dgm:pt modelId="{E1E195FD-C8D0-46C3-AF58-CD73FB37F7D9}" type="pres">
      <dgm:prSet presAssocID="{190B73F5-5CA3-4ABA-B986-A0AEAE72BD06}" presName="childNode" presStyleLbl="node1" presStyleIdx="1" presStyleCnt="3">
        <dgm:presLayoutVars>
          <dgm:bulletEnabled val="1"/>
        </dgm:presLayoutVars>
      </dgm:prSet>
      <dgm:spPr/>
    </dgm:pt>
    <dgm:pt modelId="{23E9DA3B-FF34-4047-8F96-E20B8DDD972A}" type="pres">
      <dgm:prSet presAssocID="{F9230081-5CF7-4341-85B4-A8B7FC67D589}" presName="aSpace" presStyleCnt="0"/>
      <dgm:spPr/>
    </dgm:pt>
    <dgm:pt modelId="{4F6ED16A-CB29-44B5-800F-E41CEFF3B551}" type="pres">
      <dgm:prSet presAssocID="{51D2E571-E10E-422E-BAF8-1468FD7703E5}" presName="compNode" presStyleCnt="0"/>
      <dgm:spPr/>
    </dgm:pt>
    <dgm:pt modelId="{F0B97946-F307-43E5-A514-35D2FC84AA70}" type="pres">
      <dgm:prSet presAssocID="{51D2E571-E10E-422E-BAF8-1468FD7703E5}" presName="aNode" presStyleLbl="bgShp" presStyleIdx="2" presStyleCnt="3"/>
      <dgm:spPr/>
    </dgm:pt>
    <dgm:pt modelId="{679E0CB3-63A9-4038-9D3F-5F7E12693630}" type="pres">
      <dgm:prSet presAssocID="{51D2E571-E10E-422E-BAF8-1468FD7703E5}" presName="textNode" presStyleLbl="bgShp" presStyleIdx="2" presStyleCnt="3"/>
      <dgm:spPr/>
    </dgm:pt>
    <dgm:pt modelId="{AE202ED3-23BF-4F34-B5F3-12BDA74C4F5E}" type="pres">
      <dgm:prSet presAssocID="{51D2E571-E10E-422E-BAF8-1468FD7703E5}" presName="compChildNode" presStyleCnt="0"/>
      <dgm:spPr/>
    </dgm:pt>
    <dgm:pt modelId="{8982060F-1A49-4A55-9CE8-640A13D6005D}" type="pres">
      <dgm:prSet presAssocID="{51D2E571-E10E-422E-BAF8-1468FD7703E5}" presName="theInnerList" presStyleCnt="0"/>
      <dgm:spPr/>
    </dgm:pt>
    <dgm:pt modelId="{0D26D38E-0EB9-4A64-A23A-1C07AAAD6B8C}" type="pres">
      <dgm:prSet presAssocID="{A6379BF5-1DE7-45C3-BB7E-3A968057ED44}" presName="childNode" presStyleLbl="node1" presStyleIdx="2" presStyleCnt="3">
        <dgm:presLayoutVars>
          <dgm:bulletEnabled val="1"/>
        </dgm:presLayoutVars>
      </dgm:prSet>
      <dgm:spPr/>
    </dgm:pt>
  </dgm:ptLst>
  <dgm:cxnLst>
    <dgm:cxn modelId="{2DF9F71D-A144-47EA-AB04-80672AAC9275}" srcId="{F9230081-5CF7-4341-85B4-A8B7FC67D589}" destId="{190B73F5-5CA3-4ABA-B986-A0AEAE72BD06}" srcOrd="0" destOrd="0" parTransId="{6E34DC46-F27D-48B4-AEB8-194BC9DB31D3}" sibTransId="{00110C4C-AB3C-42A6-87E3-AFABCF577F75}"/>
    <dgm:cxn modelId="{1AD8801E-EFB2-4997-B9D6-3E07386FEFCD}" srcId="{CC4783E4-E527-47B9-A702-B4957DF700AB}" destId="{51D2E571-E10E-422E-BAF8-1468FD7703E5}" srcOrd="2" destOrd="0" parTransId="{417E9EB8-97C5-42C4-A1A8-08631F854747}" sibTransId="{6C680B69-AD30-405B-9C03-2D95FAEC0C9F}"/>
    <dgm:cxn modelId="{375B3C2C-433C-4D1C-A76C-AE9002394A9C}" srcId="{CC4783E4-E527-47B9-A702-B4957DF700AB}" destId="{F9230081-5CF7-4341-85B4-A8B7FC67D589}" srcOrd="1" destOrd="0" parTransId="{974BDD8C-FDC9-43B7-A02B-B3E94D4D4F89}" sibTransId="{C41037B8-576A-478B-962D-513E17EC4627}"/>
    <dgm:cxn modelId="{94CAB82C-5409-46EB-8EAC-CC1FB59BEC95}" srcId="{CC4783E4-E527-47B9-A702-B4957DF700AB}" destId="{A64CF7FA-C342-4D01-AD90-B78DB2331FD7}" srcOrd="0" destOrd="0" parTransId="{6E0C449A-536A-4BE0-955D-76D1A8D52589}" sibTransId="{736C0F2E-9B2E-4EA8-BB35-14553DB700AD}"/>
    <dgm:cxn modelId="{D491244F-E520-402C-A317-0958B5AFDAA8}" type="presOf" srcId="{51D2E571-E10E-422E-BAF8-1468FD7703E5}" destId="{F0B97946-F307-43E5-A514-35D2FC84AA70}" srcOrd="0" destOrd="0" presId="urn:microsoft.com/office/officeart/2005/8/layout/lProcess2"/>
    <dgm:cxn modelId="{CA8C5E50-C733-4318-8D42-29FA981C5708}" srcId="{51D2E571-E10E-422E-BAF8-1468FD7703E5}" destId="{A6379BF5-1DE7-45C3-BB7E-3A968057ED44}" srcOrd="0" destOrd="0" parTransId="{CE9E415A-CCB8-4A02-B07D-F541980BDEEE}" sibTransId="{1E1412CD-605E-40C5-9C3C-FE7857D7F69B}"/>
    <dgm:cxn modelId="{8989A386-C218-4642-AF71-05C18710FDE8}" type="presOf" srcId="{F9230081-5CF7-4341-85B4-A8B7FC67D589}" destId="{12079082-81BD-47D2-9A9F-1CDA73F62CDE}" srcOrd="1" destOrd="0" presId="urn:microsoft.com/office/officeart/2005/8/layout/lProcess2"/>
    <dgm:cxn modelId="{C70A5594-1B9B-4C6D-A5BC-7655F50B4CA6}" type="presOf" srcId="{190B73F5-5CA3-4ABA-B986-A0AEAE72BD06}" destId="{E1E195FD-C8D0-46C3-AF58-CD73FB37F7D9}" srcOrd="0" destOrd="0" presId="urn:microsoft.com/office/officeart/2005/8/layout/lProcess2"/>
    <dgm:cxn modelId="{D16A84A6-1723-4936-BF3C-E57633EEF914}" type="presOf" srcId="{0F193C22-AC84-4F33-99C6-36F38A83FBE7}" destId="{C3A36CA8-E3BB-466A-B0A3-7A01C08E8EE6}" srcOrd="0" destOrd="0" presId="urn:microsoft.com/office/officeart/2005/8/layout/lProcess2"/>
    <dgm:cxn modelId="{EAA044A7-6DAB-4F25-A859-7AA64685B8CE}" type="presOf" srcId="{F9230081-5CF7-4341-85B4-A8B7FC67D589}" destId="{E8C4D44B-F10F-4354-83AE-52976331134C}" srcOrd="0" destOrd="0" presId="urn:microsoft.com/office/officeart/2005/8/layout/lProcess2"/>
    <dgm:cxn modelId="{26952FB2-F93C-42E7-BA74-9778146604BB}" type="presOf" srcId="{CC4783E4-E527-47B9-A702-B4957DF700AB}" destId="{B56D69F0-AA01-4DDC-8685-C89B65BA3406}" srcOrd="0" destOrd="0" presId="urn:microsoft.com/office/officeart/2005/8/layout/lProcess2"/>
    <dgm:cxn modelId="{0E80D3C6-9E9A-42B7-B0DA-308B714633DE}" type="presOf" srcId="{A6379BF5-1DE7-45C3-BB7E-3A968057ED44}" destId="{0D26D38E-0EB9-4A64-A23A-1C07AAAD6B8C}" srcOrd="0" destOrd="0" presId="urn:microsoft.com/office/officeart/2005/8/layout/lProcess2"/>
    <dgm:cxn modelId="{B38073CB-6740-4015-843A-ED8BADFB773A}" type="presOf" srcId="{A64CF7FA-C342-4D01-AD90-B78DB2331FD7}" destId="{0D429886-391F-4EA2-8835-01D44A8E89E8}" srcOrd="1" destOrd="0" presId="urn:microsoft.com/office/officeart/2005/8/layout/lProcess2"/>
    <dgm:cxn modelId="{72D9B9E3-6B60-48A4-AEC6-D21099DA0AD1}" srcId="{A64CF7FA-C342-4D01-AD90-B78DB2331FD7}" destId="{0F193C22-AC84-4F33-99C6-36F38A83FBE7}" srcOrd="0" destOrd="0" parTransId="{14ADCFAF-7163-44B7-85E3-59FAB4EACDDF}" sibTransId="{E2B463BA-240A-44AE-9D46-1BEBEE70072D}"/>
    <dgm:cxn modelId="{C09B54E7-4E4C-4CAD-BA6A-AB94C8919723}" type="presOf" srcId="{A64CF7FA-C342-4D01-AD90-B78DB2331FD7}" destId="{025C4C6A-6B77-49AF-8F32-2EBD63D6833D}" srcOrd="0" destOrd="0" presId="urn:microsoft.com/office/officeart/2005/8/layout/lProcess2"/>
    <dgm:cxn modelId="{2E0F36FA-CE9B-4F56-A9FD-1495FFB78EBB}" type="presOf" srcId="{51D2E571-E10E-422E-BAF8-1468FD7703E5}" destId="{679E0CB3-63A9-4038-9D3F-5F7E12693630}" srcOrd="1" destOrd="0" presId="urn:microsoft.com/office/officeart/2005/8/layout/lProcess2"/>
    <dgm:cxn modelId="{FA129C23-CFAB-40D8-94F5-54CB32A7614E}" type="presParOf" srcId="{B56D69F0-AA01-4DDC-8685-C89B65BA3406}" destId="{D6AC6807-8837-40B0-A792-63908685CC1C}" srcOrd="0" destOrd="0" presId="urn:microsoft.com/office/officeart/2005/8/layout/lProcess2"/>
    <dgm:cxn modelId="{AC0A8DFB-3850-490A-A470-4DCEB93A9322}" type="presParOf" srcId="{D6AC6807-8837-40B0-A792-63908685CC1C}" destId="{025C4C6A-6B77-49AF-8F32-2EBD63D6833D}" srcOrd="0" destOrd="0" presId="urn:microsoft.com/office/officeart/2005/8/layout/lProcess2"/>
    <dgm:cxn modelId="{6DF91841-630B-4FE4-B7B2-AE10464AF0C5}" type="presParOf" srcId="{D6AC6807-8837-40B0-A792-63908685CC1C}" destId="{0D429886-391F-4EA2-8835-01D44A8E89E8}" srcOrd="1" destOrd="0" presId="urn:microsoft.com/office/officeart/2005/8/layout/lProcess2"/>
    <dgm:cxn modelId="{AB4EA71E-41A6-45E8-B230-AF75AD9B53F0}" type="presParOf" srcId="{D6AC6807-8837-40B0-A792-63908685CC1C}" destId="{76A63122-94B3-4D78-AF90-913C88B2B4AA}" srcOrd="2" destOrd="0" presId="urn:microsoft.com/office/officeart/2005/8/layout/lProcess2"/>
    <dgm:cxn modelId="{8F489878-0B57-46F3-B759-8552E5AEE8A3}" type="presParOf" srcId="{76A63122-94B3-4D78-AF90-913C88B2B4AA}" destId="{1B7609A1-2B23-498B-B5B5-BE272610F13B}" srcOrd="0" destOrd="0" presId="urn:microsoft.com/office/officeart/2005/8/layout/lProcess2"/>
    <dgm:cxn modelId="{3F764C67-9968-4F6D-B5F2-9EB78BF6E034}" type="presParOf" srcId="{1B7609A1-2B23-498B-B5B5-BE272610F13B}" destId="{C3A36CA8-E3BB-466A-B0A3-7A01C08E8EE6}" srcOrd="0" destOrd="0" presId="urn:microsoft.com/office/officeart/2005/8/layout/lProcess2"/>
    <dgm:cxn modelId="{E793B7B2-D8B9-426F-B6D7-F9B031A50ADB}" type="presParOf" srcId="{B56D69F0-AA01-4DDC-8685-C89B65BA3406}" destId="{CAB81BBC-B16E-4AEC-A088-9E259B8DC30E}" srcOrd="1" destOrd="0" presId="urn:microsoft.com/office/officeart/2005/8/layout/lProcess2"/>
    <dgm:cxn modelId="{DB36F7A4-FE89-45BA-877F-892C7A743431}" type="presParOf" srcId="{B56D69F0-AA01-4DDC-8685-C89B65BA3406}" destId="{FBB2F4A5-39A7-4121-8706-52A24C25D715}" srcOrd="2" destOrd="0" presId="urn:microsoft.com/office/officeart/2005/8/layout/lProcess2"/>
    <dgm:cxn modelId="{95CF060B-F9EB-4D8D-83B1-5A12F1B10644}" type="presParOf" srcId="{FBB2F4A5-39A7-4121-8706-52A24C25D715}" destId="{E8C4D44B-F10F-4354-83AE-52976331134C}" srcOrd="0" destOrd="0" presId="urn:microsoft.com/office/officeart/2005/8/layout/lProcess2"/>
    <dgm:cxn modelId="{9A362019-CBA4-4BC0-9ED4-FE00A0ADA018}" type="presParOf" srcId="{FBB2F4A5-39A7-4121-8706-52A24C25D715}" destId="{12079082-81BD-47D2-9A9F-1CDA73F62CDE}" srcOrd="1" destOrd="0" presId="urn:microsoft.com/office/officeart/2005/8/layout/lProcess2"/>
    <dgm:cxn modelId="{E35D1272-6B32-4094-B16E-2148CDEBD345}" type="presParOf" srcId="{FBB2F4A5-39A7-4121-8706-52A24C25D715}" destId="{0AD0166F-83A9-40DE-95B7-C672B201450A}" srcOrd="2" destOrd="0" presId="urn:microsoft.com/office/officeart/2005/8/layout/lProcess2"/>
    <dgm:cxn modelId="{4AA5AC80-1AEB-42E1-92B7-FC4D021EDB96}" type="presParOf" srcId="{0AD0166F-83A9-40DE-95B7-C672B201450A}" destId="{DB3DA865-2091-4B9F-B55B-04B6CFC2428F}" srcOrd="0" destOrd="0" presId="urn:microsoft.com/office/officeart/2005/8/layout/lProcess2"/>
    <dgm:cxn modelId="{ACA65CE5-AC8D-45DF-B2AD-9534294858EE}" type="presParOf" srcId="{DB3DA865-2091-4B9F-B55B-04B6CFC2428F}" destId="{E1E195FD-C8D0-46C3-AF58-CD73FB37F7D9}" srcOrd="0" destOrd="0" presId="urn:microsoft.com/office/officeart/2005/8/layout/lProcess2"/>
    <dgm:cxn modelId="{D446727A-A64C-4AB8-9A1B-7B2B51002D1F}" type="presParOf" srcId="{B56D69F0-AA01-4DDC-8685-C89B65BA3406}" destId="{23E9DA3B-FF34-4047-8F96-E20B8DDD972A}" srcOrd="3" destOrd="0" presId="urn:microsoft.com/office/officeart/2005/8/layout/lProcess2"/>
    <dgm:cxn modelId="{D041771B-9FD8-4CB5-B227-A5E897D1AA32}" type="presParOf" srcId="{B56D69F0-AA01-4DDC-8685-C89B65BA3406}" destId="{4F6ED16A-CB29-44B5-800F-E41CEFF3B551}" srcOrd="4" destOrd="0" presId="urn:microsoft.com/office/officeart/2005/8/layout/lProcess2"/>
    <dgm:cxn modelId="{67EC603A-E41A-4AA8-AEA1-054F3889F5F1}" type="presParOf" srcId="{4F6ED16A-CB29-44B5-800F-E41CEFF3B551}" destId="{F0B97946-F307-43E5-A514-35D2FC84AA70}" srcOrd="0" destOrd="0" presId="urn:microsoft.com/office/officeart/2005/8/layout/lProcess2"/>
    <dgm:cxn modelId="{1EEC6447-FB00-4C2E-BDFB-4212428F3101}" type="presParOf" srcId="{4F6ED16A-CB29-44B5-800F-E41CEFF3B551}" destId="{679E0CB3-63A9-4038-9D3F-5F7E12693630}" srcOrd="1" destOrd="0" presId="urn:microsoft.com/office/officeart/2005/8/layout/lProcess2"/>
    <dgm:cxn modelId="{8B46C341-5026-4490-B90A-EE16FEBB4491}" type="presParOf" srcId="{4F6ED16A-CB29-44B5-800F-E41CEFF3B551}" destId="{AE202ED3-23BF-4F34-B5F3-12BDA74C4F5E}" srcOrd="2" destOrd="0" presId="urn:microsoft.com/office/officeart/2005/8/layout/lProcess2"/>
    <dgm:cxn modelId="{F8DD24C6-6A29-4B66-8E3B-9A7FAEC926AF}" type="presParOf" srcId="{AE202ED3-23BF-4F34-B5F3-12BDA74C4F5E}" destId="{8982060F-1A49-4A55-9CE8-640A13D6005D}" srcOrd="0" destOrd="0" presId="urn:microsoft.com/office/officeart/2005/8/layout/lProcess2"/>
    <dgm:cxn modelId="{8DD956A7-5F21-47AC-94F4-0BA2F96BE712}" type="presParOf" srcId="{8982060F-1A49-4A55-9CE8-640A13D6005D}" destId="{0D26D38E-0EB9-4A64-A23A-1C07AAAD6B8C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4AE54BF-7FB5-463F-A584-5814328F2782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C2C103C-A082-4C47-A352-8904810E140C}">
      <dgm:prSet phldrT="[Text]"/>
      <dgm:spPr/>
      <dgm:t>
        <a:bodyPr/>
        <a:lstStyle/>
        <a:p>
          <a:r>
            <a:rPr lang="en-US" dirty="0"/>
            <a:t>UCD and ULAD Integration</a:t>
          </a:r>
        </a:p>
      </dgm:t>
    </dgm:pt>
    <dgm:pt modelId="{E5F86C3A-7820-4E3B-B26D-4D818A09742D}" type="parTrans" cxnId="{2EB07EE2-B622-4197-8BD6-2393FF35C5AE}">
      <dgm:prSet/>
      <dgm:spPr/>
      <dgm:t>
        <a:bodyPr/>
        <a:lstStyle/>
        <a:p>
          <a:endParaRPr lang="en-US"/>
        </a:p>
      </dgm:t>
    </dgm:pt>
    <dgm:pt modelId="{807A86AA-D00D-43E8-84AF-D37B88EAD8A1}" type="sibTrans" cxnId="{2EB07EE2-B622-4197-8BD6-2393FF35C5AE}">
      <dgm:prSet/>
      <dgm:spPr/>
      <dgm:t>
        <a:bodyPr/>
        <a:lstStyle/>
        <a:p>
          <a:endParaRPr lang="en-US"/>
        </a:p>
      </dgm:t>
    </dgm:pt>
    <dgm:pt modelId="{EE23562F-C069-4076-BA55-CCD2B5011F4D}">
      <dgm:prSet phldrT="[Text]"/>
      <dgm:spPr/>
      <dgm:t>
        <a:bodyPr/>
        <a:lstStyle/>
        <a:p>
          <a:r>
            <a:rPr lang="en-US" b="0" i="0" dirty="0"/>
            <a:t>Lender Audit Revamp in conjunction with Lender Scorecards</a:t>
          </a:r>
          <a:endParaRPr lang="en-US" dirty="0"/>
        </a:p>
      </dgm:t>
    </dgm:pt>
    <dgm:pt modelId="{14D21A49-BB60-4642-8FE0-3FDE6A813E18}" type="parTrans" cxnId="{881782F9-7E6F-43E9-AFCF-4D2434E2AFD1}">
      <dgm:prSet/>
      <dgm:spPr/>
      <dgm:t>
        <a:bodyPr/>
        <a:lstStyle/>
        <a:p>
          <a:endParaRPr lang="en-US"/>
        </a:p>
      </dgm:t>
    </dgm:pt>
    <dgm:pt modelId="{5B0162C0-0987-43A2-8400-BA9D0877F894}" type="sibTrans" cxnId="{881782F9-7E6F-43E9-AFCF-4D2434E2AFD1}">
      <dgm:prSet/>
      <dgm:spPr/>
      <dgm:t>
        <a:bodyPr/>
        <a:lstStyle/>
        <a:p>
          <a:endParaRPr lang="en-US"/>
        </a:p>
      </dgm:t>
    </dgm:pt>
    <dgm:pt modelId="{E70B75B4-C929-40EB-9DD0-55FB835D34A2}">
      <dgm:prSet phldrT="[Text]"/>
      <dgm:spPr/>
      <dgm:t>
        <a:bodyPr/>
        <a:lstStyle/>
        <a:p>
          <a:r>
            <a:rPr lang="en-US" b="0" i="0" dirty="0"/>
            <a:t>Lender’s Handbook Updates to Continue</a:t>
          </a:r>
          <a:endParaRPr lang="en-US" dirty="0"/>
        </a:p>
      </dgm:t>
    </dgm:pt>
    <dgm:pt modelId="{D64D8906-0D99-4A82-BF2D-FDB948735763}" type="parTrans" cxnId="{C899ABC8-B156-4DE5-9A1E-FE6C626591F7}">
      <dgm:prSet/>
      <dgm:spPr/>
      <dgm:t>
        <a:bodyPr/>
        <a:lstStyle/>
        <a:p>
          <a:endParaRPr lang="en-US"/>
        </a:p>
      </dgm:t>
    </dgm:pt>
    <dgm:pt modelId="{55EEE54E-7A08-4BCC-8BBB-F1F6BF02B37F}" type="sibTrans" cxnId="{C899ABC8-B156-4DE5-9A1E-FE6C626591F7}">
      <dgm:prSet/>
      <dgm:spPr/>
      <dgm:t>
        <a:bodyPr/>
        <a:lstStyle/>
        <a:p>
          <a:endParaRPr lang="en-US"/>
        </a:p>
      </dgm:t>
    </dgm:pt>
    <dgm:pt modelId="{C209CC58-3A3E-44A8-94D5-35330902976E}">
      <dgm:prSet phldrT="[Text]"/>
      <dgm:spPr/>
      <dgm:t>
        <a:bodyPr/>
        <a:lstStyle/>
        <a:p>
          <a:r>
            <a:rPr lang="en-US" b="0" i="0" dirty="0">
              <a:solidFill>
                <a:schemeClr val="bg1"/>
              </a:solidFill>
            </a:rPr>
            <a:t>Appraisal Management System Enhancements (AMS - Redesign)</a:t>
          </a:r>
          <a:endParaRPr lang="en-US" dirty="0">
            <a:solidFill>
              <a:schemeClr val="bg1"/>
            </a:solidFill>
          </a:endParaRPr>
        </a:p>
      </dgm:t>
    </dgm:pt>
    <dgm:pt modelId="{C24E4DC9-C1FA-4F1E-BC78-0F45A5CD8937}" type="parTrans" cxnId="{C763DC1D-717A-48D5-8FEA-3249457AE39F}">
      <dgm:prSet/>
      <dgm:spPr/>
      <dgm:t>
        <a:bodyPr/>
        <a:lstStyle/>
        <a:p>
          <a:endParaRPr lang="en-US"/>
        </a:p>
      </dgm:t>
    </dgm:pt>
    <dgm:pt modelId="{F302DDCE-4241-47D2-8537-5A603F9D5D30}" type="sibTrans" cxnId="{C763DC1D-717A-48D5-8FEA-3249457AE39F}">
      <dgm:prSet/>
      <dgm:spPr/>
      <dgm:t>
        <a:bodyPr/>
        <a:lstStyle/>
        <a:p>
          <a:endParaRPr lang="en-US"/>
        </a:p>
      </dgm:t>
    </dgm:pt>
    <dgm:pt modelId="{A475C8C0-CA8B-4669-9D08-CE1D721C9DEA}">
      <dgm:prSet phldrT="[Text]"/>
      <dgm:spPr/>
      <dgm:t>
        <a:bodyPr/>
        <a:lstStyle/>
        <a:p>
          <a:r>
            <a:rPr lang="en-US" dirty="0"/>
            <a:t>New Servicing Platform Go Live</a:t>
          </a:r>
        </a:p>
      </dgm:t>
    </dgm:pt>
    <dgm:pt modelId="{C7A10994-1160-4C1F-8F13-63793973C9B3}" type="parTrans" cxnId="{CADEC338-3703-40A0-9A24-B33851574590}">
      <dgm:prSet/>
      <dgm:spPr/>
      <dgm:t>
        <a:bodyPr/>
        <a:lstStyle/>
        <a:p>
          <a:endParaRPr lang="en-US"/>
        </a:p>
      </dgm:t>
    </dgm:pt>
    <dgm:pt modelId="{B4D074BC-7E7D-4021-8837-ED0B1FB82FAD}" type="sibTrans" cxnId="{CADEC338-3703-40A0-9A24-B33851574590}">
      <dgm:prSet/>
      <dgm:spPr/>
      <dgm:t>
        <a:bodyPr/>
        <a:lstStyle/>
        <a:p>
          <a:endParaRPr lang="en-US"/>
        </a:p>
      </dgm:t>
    </dgm:pt>
    <dgm:pt modelId="{9D3ACC87-58A1-4C17-A0CC-B8CE9EF24F57}">
      <dgm:prSet/>
      <dgm:spPr/>
      <dgm:t>
        <a:bodyPr/>
        <a:lstStyle/>
        <a:p>
          <a:r>
            <a:rPr lang="en-US" dirty="0"/>
            <a:t>Order COE before Appraisal</a:t>
          </a:r>
        </a:p>
      </dgm:t>
    </dgm:pt>
    <dgm:pt modelId="{FF6615F5-6136-405B-A1A1-856C69EC017A}" type="parTrans" cxnId="{E5E78A32-9202-47D4-94D7-B7551FF38F07}">
      <dgm:prSet/>
      <dgm:spPr/>
      <dgm:t>
        <a:bodyPr/>
        <a:lstStyle/>
        <a:p>
          <a:endParaRPr lang="en-US"/>
        </a:p>
      </dgm:t>
    </dgm:pt>
    <dgm:pt modelId="{30A3A63C-78B7-4102-BE04-081764508126}" type="sibTrans" cxnId="{E5E78A32-9202-47D4-94D7-B7551FF38F07}">
      <dgm:prSet/>
      <dgm:spPr/>
      <dgm:t>
        <a:bodyPr/>
        <a:lstStyle/>
        <a:p>
          <a:endParaRPr lang="en-US"/>
        </a:p>
      </dgm:t>
    </dgm:pt>
    <dgm:pt modelId="{5DC37797-AE8E-4596-B4BA-6080AC6E1461}">
      <dgm:prSet/>
      <dgm:spPr/>
      <dgm:t>
        <a:bodyPr/>
        <a:lstStyle/>
        <a:p>
          <a:r>
            <a:rPr lang="en-US" dirty="0"/>
            <a:t>IRRRL Proposed Rule</a:t>
          </a:r>
        </a:p>
        <a:p>
          <a:r>
            <a:rPr lang="en-US" dirty="0"/>
            <a:t>Cash-Out Final Rule</a:t>
          </a:r>
        </a:p>
        <a:p>
          <a:r>
            <a:rPr lang="en-US" dirty="0"/>
            <a:t>Enhanced Oversight and Analysis</a:t>
          </a:r>
        </a:p>
      </dgm:t>
    </dgm:pt>
    <dgm:pt modelId="{C2A6A536-683A-4E6A-8CE3-90B6BEF22678}" type="parTrans" cxnId="{029B8A4F-41D0-42B6-85C9-2D94DAAABFC1}">
      <dgm:prSet/>
      <dgm:spPr/>
      <dgm:t>
        <a:bodyPr/>
        <a:lstStyle/>
        <a:p>
          <a:endParaRPr lang="en-US"/>
        </a:p>
      </dgm:t>
    </dgm:pt>
    <dgm:pt modelId="{AB93BA14-C409-4ED2-983E-951CE8B5DA03}" type="sibTrans" cxnId="{029B8A4F-41D0-42B6-85C9-2D94DAAABFC1}">
      <dgm:prSet/>
      <dgm:spPr/>
      <dgm:t>
        <a:bodyPr/>
        <a:lstStyle/>
        <a:p>
          <a:endParaRPr lang="en-US"/>
        </a:p>
      </dgm:t>
    </dgm:pt>
    <dgm:pt modelId="{64E5C780-D083-479C-82E1-16C0E7346972}" type="pres">
      <dgm:prSet presAssocID="{54AE54BF-7FB5-463F-A584-5814328F2782}" presName="diagram" presStyleCnt="0">
        <dgm:presLayoutVars>
          <dgm:dir/>
          <dgm:resizeHandles val="exact"/>
        </dgm:presLayoutVars>
      </dgm:prSet>
      <dgm:spPr/>
    </dgm:pt>
    <dgm:pt modelId="{FDF43323-BB83-40EB-9E8A-A930867DD694}" type="pres">
      <dgm:prSet presAssocID="{0C2C103C-A082-4C47-A352-8904810E140C}" presName="node" presStyleLbl="node1" presStyleIdx="0" presStyleCnt="7">
        <dgm:presLayoutVars>
          <dgm:bulletEnabled val="1"/>
        </dgm:presLayoutVars>
      </dgm:prSet>
      <dgm:spPr/>
    </dgm:pt>
    <dgm:pt modelId="{60DC0523-63FA-4483-A118-E7AEAB0EEFAD}" type="pres">
      <dgm:prSet presAssocID="{807A86AA-D00D-43E8-84AF-D37B88EAD8A1}" presName="sibTrans" presStyleCnt="0"/>
      <dgm:spPr/>
    </dgm:pt>
    <dgm:pt modelId="{FAF0532D-AA46-4FE0-BC10-0026D195A63E}" type="pres">
      <dgm:prSet presAssocID="{EE23562F-C069-4076-BA55-CCD2B5011F4D}" presName="node" presStyleLbl="node1" presStyleIdx="1" presStyleCnt="7">
        <dgm:presLayoutVars>
          <dgm:bulletEnabled val="1"/>
        </dgm:presLayoutVars>
      </dgm:prSet>
      <dgm:spPr/>
    </dgm:pt>
    <dgm:pt modelId="{110ED91E-CB7C-4206-84BB-12C9BB533F78}" type="pres">
      <dgm:prSet presAssocID="{5B0162C0-0987-43A2-8400-BA9D0877F894}" presName="sibTrans" presStyleCnt="0"/>
      <dgm:spPr/>
    </dgm:pt>
    <dgm:pt modelId="{A38AE628-E386-4C25-82C8-7DC1FE7D21DC}" type="pres">
      <dgm:prSet presAssocID="{E70B75B4-C929-40EB-9DD0-55FB835D34A2}" presName="node" presStyleLbl="node1" presStyleIdx="2" presStyleCnt="7">
        <dgm:presLayoutVars>
          <dgm:bulletEnabled val="1"/>
        </dgm:presLayoutVars>
      </dgm:prSet>
      <dgm:spPr/>
    </dgm:pt>
    <dgm:pt modelId="{9530EEF0-36BC-4B54-AF8F-09CCD38753C4}" type="pres">
      <dgm:prSet presAssocID="{55EEE54E-7A08-4BCC-8BBB-F1F6BF02B37F}" presName="sibTrans" presStyleCnt="0"/>
      <dgm:spPr/>
    </dgm:pt>
    <dgm:pt modelId="{3AAE6D6A-8002-415F-8FE2-5F4E9B4BBC91}" type="pres">
      <dgm:prSet presAssocID="{C209CC58-3A3E-44A8-94D5-35330902976E}" presName="node" presStyleLbl="node1" presStyleIdx="3" presStyleCnt="7">
        <dgm:presLayoutVars>
          <dgm:bulletEnabled val="1"/>
        </dgm:presLayoutVars>
      </dgm:prSet>
      <dgm:spPr/>
    </dgm:pt>
    <dgm:pt modelId="{CE3E76E4-741A-4691-8EE8-4F84382E591E}" type="pres">
      <dgm:prSet presAssocID="{F302DDCE-4241-47D2-8537-5A603F9D5D30}" presName="sibTrans" presStyleCnt="0"/>
      <dgm:spPr/>
    </dgm:pt>
    <dgm:pt modelId="{353EC59F-4CF8-4522-A676-D3D848FCAD09}" type="pres">
      <dgm:prSet presAssocID="{A475C8C0-CA8B-4669-9D08-CE1D721C9DEA}" presName="node" presStyleLbl="node1" presStyleIdx="4" presStyleCnt="7">
        <dgm:presLayoutVars>
          <dgm:bulletEnabled val="1"/>
        </dgm:presLayoutVars>
      </dgm:prSet>
      <dgm:spPr/>
    </dgm:pt>
    <dgm:pt modelId="{C9D6B494-5F2D-4021-BAB4-F0B953CD3644}" type="pres">
      <dgm:prSet presAssocID="{B4D074BC-7E7D-4021-8837-ED0B1FB82FAD}" presName="sibTrans" presStyleCnt="0"/>
      <dgm:spPr/>
    </dgm:pt>
    <dgm:pt modelId="{B4CCADA3-8E1F-4A6C-A692-5334C15ECBE3}" type="pres">
      <dgm:prSet presAssocID="{5DC37797-AE8E-4596-B4BA-6080AC6E1461}" presName="node" presStyleLbl="node1" presStyleIdx="5" presStyleCnt="7" custLinFactX="-10007" custLinFactY="15666" custLinFactNeighborX="-100000" custLinFactNeighborY="100000">
        <dgm:presLayoutVars>
          <dgm:bulletEnabled val="1"/>
        </dgm:presLayoutVars>
      </dgm:prSet>
      <dgm:spPr/>
    </dgm:pt>
    <dgm:pt modelId="{14FE5989-6ED0-4011-A0F4-250387A50567}" type="pres">
      <dgm:prSet presAssocID="{AB93BA14-C409-4ED2-983E-951CE8B5DA03}" presName="sibTrans" presStyleCnt="0"/>
      <dgm:spPr/>
    </dgm:pt>
    <dgm:pt modelId="{7AED87EF-EED2-459E-BCD3-F3F198BF3B4B}" type="pres">
      <dgm:prSet presAssocID="{9D3ACC87-58A1-4C17-A0CC-B8CE9EF24F57}" presName="node" presStyleLbl="node1" presStyleIdx="6" presStyleCnt="7" custLinFactX="12130" custLinFactY="-17179" custLinFactNeighborX="100000" custLinFactNeighborY="-100000">
        <dgm:presLayoutVars>
          <dgm:bulletEnabled val="1"/>
        </dgm:presLayoutVars>
      </dgm:prSet>
      <dgm:spPr/>
    </dgm:pt>
  </dgm:ptLst>
  <dgm:cxnLst>
    <dgm:cxn modelId="{C763DC1D-717A-48D5-8FEA-3249457AE39F}" srcId="{54AE54BF-7FB5-463F-A584-5814328F2782}" destId="{C209CC58-3A3E-44A8-94D5-35330902976E}" srcOrd="3" destOrd="0" parTransId="{C24E4DC9-C1FA-4F1E-BC78-0F45A5CD8937}" sibTransId="{F302DDCE-4241-47D2-8537-5A603F9D5D30}"/>
    <dgm:cxn modelId="{12A89926-A4C1-4DF3-9CF2-BC1960B68C4E}" type="presOf" srcId="{54AE54BF-7FB5-463F-A584-5814328F2782}" destId="{64E5C780-D083-479C-82E1-16C0E7346972}" srcOrd="0" destOrd="0" presId="urn:microsoft.com/office/officeart/2005/8/layout/default"/>
    <dgm:cxn modelId="{E5E78A32-9202-47D4-94D7-B7551FF38F07}" srcId="{54AE54BF-7FB5-463F-A584-5814328F2782}" destId="{9D3ACC87-58A1-4C17-A0CC-B8CE9EF24F57}" srcOrd="6" destOrd="0" parTransId="{FF6615F5-6136-405B-A1A1-856C69EC017A}" sibTransId="{30A3A63C-78B7-4102-BE04-081764508126}"/>
    <dgm:cxn modelId="{CADEC338-3703-40A0-9A24-B33851574590}" srcId="{54AE54BF-7FB5-463F-A584-5814328F2782}" destId="{A475C8C0-CA8B-4669-9D08-CE1D721C9DEA}" srcOrd="4" destOrd="0" parTransId="{C7A10994-1160-4C1F-8F13-63793973C9B3}" sibTransId="{B4D074BC-7E7D-4021-8837-ED0B1FB82FAD}"/>
    <dgm:cxn modelId="{E0D49C43-C689-46C0-8143-D9C0F9BFA7E1}" type="presOf" srcId="{E70B75B4-C929-40EB-9DD0-55FB835D34A2}" destId="{A38AE628-E386-4C25-82C8-7DC1FE7D21DC}" srcOrd="0" destOrd="0" presId="urn:microsoft.com/office/officeart/2005/8/layout/default"/>
    <dgm:cxn modelId="{2EA18969-B038-4EC1-9D07-08EABF6E683D}" type="presOf" srcId="{EE23562F-C069-4076-BA55-CCD2B5011F4D}" destId="{FAF0532D-AA46-4FE0-BC10-0026D195A63E}" srcOrd="0" destOrd="0" presId="urn:microsoft.com/office/officeart/2005/8/layout/default"/>
    <dgm:cxn modelId="{C365544B-E297-472D-B769-A9E46E16F3E7}" type="presOf" srcId="{0C2C103C-A082-4C47-A352-8904810E140C}" destId="{FDF43323-BB83-40EB-9E8A-A930867DD694}" srcOrd="0" destOrd="0" presId="urn:microsoft.com/office/officeart/2005/8/layout/default"/>
    <dgm:cxn modelId="{3D8FD94C-047B-4B8C-9606-7C2CA03D826F}" type="presOf" srcId="{C209CC58-3A3E-44A8-94D5-35330902976E}" destId="{3AAE6D6A-8002-415F-8FE2-5F4E9B4BBC91}" srcOrd="0" destOrd="0" presId="urn:microsoft.com/office/officeart/2005/8/layout/default"/>
    <dgm:cxn modelId="{029B8A4F-41D0-42B6-85C9-2D94DAAABFC1}" srcId="{54AE54BF-7FB5-463F-A584-5814328F2782}" destId="{5DC37797-AE8E-4596-B4BA-6080AC6E1461}" srcOrd="5" destOrd="0" parTransId="{C2A6A536-683A-4E6A-8CE3-90B6BEF22678}" sibTransId="{AB93BA14-C409-4ED2-983E-951CE8B5DA03}"/>
    <dgm:cxn modelId="{7445B753-3DA8-483B-8748-588D4E4F290F}" type="presOf" srcId="{9D3ACC87-58A1-4C17-A0CC-B8CE9EF24F57}" destId="{7AED87EF-EED2-459E-BCD3-F3F198BF3B4B}" srcOrd="0" destOrd="0" presId="urn:microsoft.com/office/officeart/2005/8/layout/default"/>
    <dgm:cxn modelId="{6859A875-D673-4FF8-B560-EA604C165C63}" type="presOf" srcId="{A475C8C0-CA8B-4669-9D08-CE1D721C9DEA}" destId="{353EC59F-4CF8-4522-A676-D3D848FCAD09}" srcOrd="0" destOrd="0" presId="urn:microsoft.com/office/officeart/2005/8/layout/default"/>
    <dgm:cxn modelId="{C899ABC8-B156-4DE5-9A1E-FE6C626591F7}" srcId="{54AE54BF-7FB5-463F-A584-5814328F2782}" destId="{E70B75B4-C929-40EB-9DD0-55FB835D34A2}" srcOrd="2" destOrd="0" parTransId="{D64D8906-0D99-4A82-BF2D-FDB948735763}" sibTransId="{55EEE54E-7A08-4BCC-8BBB-F1F6BF02B37F}"/>
    <dgm:cxn modelId="{71A7E1D4-2090-42DD-B64C-B72F0ACB0FED}" type="presOf" srcId="{5DC37797-AE8E-4596-B4BA-6080AC6E1461}" destId="{B4CCADA3-8E1F-4A6C-A692-5334C15ECBE3}" srcOrd="0" destOrd="0" presId="urn:microsoft.com/office/officeart/2005/8/layout/default"/>
    <dgm:cxn modelId="{2EB07EE2-B622-4197-8BD6-2393FF35C5AE}" srcId="{54AE54BF-7FB5-463F-A584-5814328F2782}" destId="{0C2C103C-A082-4C47-A352-8904810E140C}" srcOrd="0" destOrd="0" parTransId="{E5F86C3A-7820-4E3B-B26D-4D818A09742D}" sibTransId="{807A86AA-D00D-43E8-84AF-D37B88EAD8A1}"/>
    <dgm:cxn modelId="{881782F9-7E6F-43E9-AFCF-4D2434E2AFD1}" srcId="{54AE54BF-7FB5-463F-A584-5814328F2782}" destId="{EE23562F-C069-4076-BA55-CCD2B5011F4D}" srcOrd="1" destOrd="0" parTransId="{14D21A49-BB60-4642-8FE0-3FDE6A813E18}" sibTransId="{5B0162C0-0987-43A2-8400-BA9D0877F894}"/>
    <dgm:cxn modelId="{1494E183-DD9B-438C-9ADF-54408AA20B3A}" type="presParOf" srcId="{64E5C780-D083-479C-82E1-16C0E7346972}" destId="{FDF43323-BB83-40EB-9E8A-A930867DD694}" srcOrd="0" destOrd="0" presId="urn:microsoft.com/office/officeart/2005/8/layout/default"/>
    <dgm:cxn modelId="{62158885-6EEC-4C1F-A030-4A9B4C1EB037}" type="presParOf" srcId="{64E5C780-D083-479C-82E1-16C0E7346972}" destId="{60DC0523-63FA-4483-A118-E7AEAB0EEFAD}" srcOrd="1" destOrd="0" presId="urn:microsoft.com/office/officeart/2005/8/layout/default"/>
    <dgm:cxn modelId="{F346548D-C79D-4DF7-9DAA-100AE0CD95CD}" type="presParOf" srcId="{64E5C780-D083-479C-82E1-16C0E7346972}" destId="{FAF0532D-AA46-4FE0-BC10-0026D195A63E}" srcOrd="2" destOrd="0" presId="urn:microsoft.com/office/officeart/2005/8/layout/default"/>
    <dgm:cxn modelId="{00A3963D-8E16-4F20-973D-A88385984CC4}" type="presParOf" srcId="{64E5C780-D083-479C-82E1-16C0E7346972}" destId="{110ED91E-CB7C-4206-84BB-12C9BB533F78}" srcOrd="3" destOrd="0" presId="urn:microsoft.com/office/officeart/2005/8/layout/default"/>
    <dgm:cxn modelId="{0A35EDD0-0548-49C3-B599-43E3BF2C7809}" type="presParOf" srcId="{64E5C780-D083-479C-82E1-16C0E7346972}" destId="{A38AE628-E386-4C25-82C8-7DC1FE7D21DC}" srcOrd="4" destOrd="0" presId="urn:microsoft.com/office/officeart/2005/8/layout/default"/>
    <dgm:cxn modelId="{A88F7348-AE66-41D7-9758-82B77DF01F02}" type="presParOf" srcId="{64E5C780-D083-479C-82E1-16C0E7346972}" destId="{9530EEF0-36BC-4B54-AF8F-09CCD38753C4}" srcOrd="5" destOrd="0" presId="urn:microsoft.com/office/officeart/2005/8/layout/default"/>
    <dgm:cxn modelId="{940F552B-E716-4ED7-8242-FAAD3B55F4DC}" type="presParOf" srcId="{64E5C780-D083-479C-82E1-16C0E7346972}" destId="{3AAE6D6A-8002-415F-8FE2-5F4E9B4BBC91}" srcOrd="6" destOrd="0" presId="urn:microsoft.com/office/officeart/2005/8/layout/default"/>
    <dgm:cxn modelId="{91A38BC2-0AB3-4246-8C39-DBA1665E7710}" type="presParOf" srcId="{64E5C780-D083-479C-82E1-16C0E7346972}" destId="{CE3E76E4-741A-4691-8EE8-4F84382E591E}" srcOrd="7" destOrd="0" presId="urn:microsoft.com/office/officeart/2005/8/layout/default"/>
    <dgm:cxn modelId="{0AF79AFE-3F76-4AF2-8AF1-2AA5A3C02181}" type="presParOf" srcId="{64E5C780-D083-479C-82E1-16C0E7346972}" destId="{353EC59F-4CF8-4522-A676-D3D848FCAD09}" srcOrd="8" destOrd="0" presId="urn:microsoft.com/office/officeart/2005/8/layout/default"/>
    <dgm:cxn modelId="{E549C416-784F-47BE-AAD5-A86AD3DA8F49}" type="presParOf" srcId="{64E5C780-D083-479C-82E1-16C0E7346972}" destId="{C9D6B494-5F2D-4021-BAB4-F0B953CD3644}" srcOrd="9" destOrd="0" presId="urn:microsoft.com/office/officeart/2005/8/layout/default"/>
    <dgm:cxn modelId="{3CC656C8-77C3-4C34-8E88-E65CBFAA5E79}" type="presParOf" srcId="{64E5C780-D083-479C-82E1-16C0E7346972}" destId="{B4CCADA3-8E1F-4A6C-A692-5334C15ECBE3}" srcOrd="10" destOrd="0" presId="urn:microsoft.com/office/officeart/2005/8/layout/default"/>
    <dgm:cxn modelId="{411CA77D-D6C4-4335-9C03-A3AC5E32A772}" type="presParOf" srcId="{64E5C780-D083-479C-82E1-16C0E7346972}" destId="{14FE5989-6ED0-4011-A0F4-250387A50567}" srcOrd="11" destOrd="0" presId="urn:microsoft.com/office/officeart/2005/8/layout/default"/>
    <dgm:cxn modelId="{016A5182-FB22-4BF0-B71A-831B51E6B2BC}" type="presParOf" srcId="{64E5C780-D083-479C-82E1-16C0E7346972}" destId="{7AED87EF-EED2-459E-BCD3-F3F198BF3B4B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4AE54BF-7FB5-463F-A584-5814328F2782}" type="doc">
      <dgm:prSet loTypeId="urn:microsoft.com/office/officeart/2005/8/layout/defaul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0C2C103C-A082-4C47-A352-8904810E140C}">
      <dgm:prSet phldrT="[Text]"/>
      <dgm:spPr/>
      <dgm:t>
        <a:bodyPr/>
        <a:lstStyle/>
        <a:p>
          <a:r>
            <a:rPr lang="en-US" dirty="0"/>
            <a:t>Appraisal Orders Unassigned: 26 days FY 2018 to 5 days this year</a:t>
          </a:r>
        </a:p>
      </dgm:t>
    </dgm:pt>
    <dgm:pt modelId="{E5F86C3A-7820-4E3B-B26D-4D818A09742D}" type="parTrans" cxnId="{2EB07EE2-B622-4197-8BD6-2393FF35C5AE}">
      <dgm:prSet/>
      <dgm:spPr/>
      <dgm:t>
        <a:bodyPr/>
        <a:lstStyle/>
        <a:p>
          <a:endParaRPr lang="en-US"/>
        </a:p>
      </dgm:t>
    </dgm:pt>
    <dgm:pt modelId="{807A86AA-D00D-43E8-84AF-D37B88EAD8A1}" type="sibTrans" cxnId="{2EB07EE2-B622-4197-8BD6-2393FF35C5AE}">
      <dgm:prSet/>
      <dgm:spPr/>
      <dgm:t>
        <a:bodyPr/>
        <a:lstStyle/>
        <a:p>
          <a:endParaRPr lang="en-US"/>
        </a:p>
      </dgm:t>
    </dgm:pt>
    <dgm:pt modelId="{EE23562F-C069-4076-BA55-CCD2B5011F4D}">
      <dgm:prSet phldrT="[Text]"/>
      <dgm:spPr/>
      <dgm:t>
        <a:bodyPr/>
        <a:lstStyle/>
        <a:p>
          <a:r>
            <a:rPr lang="en-US" dirty="0"/>
            <a:t>Appraiser Recruitment – Appraisers in the right locations</a:t>
          </a:r>
        </a:p>
      </dgm:t>
    </dgm:pt>
    <dgm:pt modelId="{14D21A49-BB60-4642-8FE0-3FDE6A813E18}" type="parTrans" cxnId="{881782F9-7E6F-43E9-AFCF-4D2434E2AFD1}">
      <dgm:prSet/>
      <dgm:spPr/>
      <dgm:t>
        <a:bodyPr/>
        <a:lstStyle/>
        <a:p>
          <a:endParaRPr lang="en-US"/>
        </a:p>
      </dgm:t>
    </dgm:pt>
    <dgm:pt modelId="{5B0162C0-0987-43A2-8400-BA9D0877F894}" type="sibTrans" cxnId="{881782F9-7E6F-43E9-AFCF-4D2434E2AFD1}">
      <dgm:prSet/>
      <dgm:spPr/>
      <dgm:t>
        <a:bodyPr/>
        <a:lstStyle/>
        <a:p>
          <a:endParaRPr lang="en-US"/>
        </a:p>
      </dgm:t>
    </dgm:pt>
    <dgm:pt modelId="{E70B75B4-C929-40EB-9DD0-55FB835D34A2}">
      <dgm:prSet phldrT="[Text]"/>
      <dgm:spPr/>
      <dgm:t>
        <a:bodyPr/>
        <a:lstStyle/>
        <a:p>
          <a:r>
            <a:rPr lang="en-US" dirty="0"/>
            <a:t>Customer Service – Appraisers scheduling within 48 hours</a:t>
          </a:r>
        </a:p>
      </dgm:t>
    </dgm:pt>
    <dgm:pt modelId="{D64D8906-0D99-4A82-BF2D-FDB948735763}" type="parTrans" cxnId="{C899ABC8-B156-4DE5-9A1E-FE6C626591F7}">
      <dgm:prSet/>
      <dgm:spPr/>
      <dgm:t>
        <a:bodyPr/>
        <a:lstStyle/>
        <a:p>
          <a:endParaRPr lang="en-US"/>
        </a:p>
      </dgm:t>
    </dgm:pt>
    <dgm:pt modelId="{55EEE54E-7A08-4BCC-8BBB-F1F6BF02B37F}" type="sibTrans" cxnId="{C899ABC8-B156-4DE5-9A1E-FE6C626591F7}">
      <dgm:prSet/>
      <dgm:spPr/>
      <dgm:t>
        <a:bodyPr/>
        <a:lstStyle/>
        <a:p>
          <a:endParaRPr lang="en-US"/>
        </a:p>
      </dgm:t>
    </dgm:pt>
    <dgm:pt modelId="{C209CC58-3A3E-44A8-94D5-35330902976E}">
      <dgm:prSet phldrT="[Text]"/>
      <dgm:spPr/>
      <dgm:t>
        <a:bodyPr/>
        <a:lstStyle/>
        <a:p>
          <a:r>
            <a:rPr lang="en-US" dirty="0"/>
            <a:t>Cash Out </a:t>
          </a:r>
          <a:r>
            <a:rPr lang="en-US"/>
            <a:t>Regulatory Response </a:t>
          </a:r>
          <a:endParaRPr lang="en-US" dirty="0">
            <a:solidFill>
              <a:schemeClr val="bg1"/>
            </a:solidFill>
          </a:endParaRPr>
        </a:p>
      </dgm:t>
    </dgm:pt>
    <dgm:pt modelId="{C24E4DC9-C1FA-4F1E-BC78-0F45A5CD8937}" type="parTrans" cxnId="{C763DC1D-717A-48D5-8FEA-3249457AE39F}">
      <dgm:prSet/>
      <dgm:spPr/>
      <dgm:t>
        <a:bodyPr/>
        <a:lstStyle/>
        <a:p>
          <a:endParaRPr lang="en-US"/>
        </a:p>
      </dgm:t>
    </dgm:pt>
    <dgm:pt modelId="{F302DDCE-4241-47D2-8537-5A603F9D5D30}" type="sibTrans" cxnId="{C763DC1D-717A-48D5-8FEA-3249457AE39F}">
      <dgm:prSet/>
      <dgm:spPr/>
      <dgm:t>
        <a:bodyPr/>
        <a:lstStyle/>
        <a:p>
          <a:endParaRPr lang="en-US"/>
        </a:p>
      </dgm:t>
    </dgm:pt>
    <dgm:pt modelId="{A475C8C0-CA8B-4669-9D08-CE1D721C9DEA}">
      <dgm:prSet phldrT="[Text]"/>
      <dgm:spPr/>
      <dgm:t>
        <a:bodyPr/>
        <a:lstStyle/>
        <a:p>
          <a:r>
            <a:rPr lang="en-US" dirty="0"/>
            <a:t>Disclosures for Refinancing and C/O Rule</a:t>
          </a:r>
        </a:p>
      </dgm:t>
    </dgm:pt>
    <dgm:pt modelId="{C7A10994-1160-4C1F-8F13-63793973C9B3}" type="parTrans" cxnId="{CADEC338-3703-40A0-9A24-B33851574590}">
      <dgm:prSet/>
      <dgm:spPr/>
      <dgm:t>
        <a:bodyPr/>
        <a:lstStyle/>
        <a:p>
          <a:endParaRPr lang="en-US"/>
        </a:p>
      </dgm:t>
    </dgm:pt>
    <dgm:pt modelId="{B4D074BC-7E7D-4021-8837-ED0B1FB82FAD}" type="sibTrans" cxnId="{CADEC338-3703-40A0-9A24-B33851574590}">
      <dgm:prSet/>
      <dgm:spPr/>
      <dgm:t>
        <a:bodyPr/>
        <a:lstStyle/>
        <a:p>
          <a:endParaRPr lang="en-US"/>
        </a:p>
      </dgm:t>
    </dgm:pt>
    <dgm:pt modelId="{FDCEE3E5-A4E0-42F2-BEE3-847E2B9D127A}">
      <dgm:prSet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dirty="0"/>
            <a:t>Pamphlet 26-7</a:t>
          </a:r>
        </a:p>
        <a:p>
          <a:pPr>
            <a:buFont typeface="Arial" panose="020B0604020202020204" pitchFamily="34" charset="0"/>
            <a:buChar char="•"/>
          </a:pPr>
          <a:r>
            <a:rPr lang="en-US" dirty="0"/>
            <a:t>Chapters 1, 4, 5, 7, 9, 10, 11, 12, 13 have been released</a:t>
          </a:r>
        </a:p>
      </dgm:t>
    </dgm:pt>
    <dgm:pt modelId="{9CFEC342-7B04-442C-A4A4-A777BE7645A5}" type="parTrans" cxnId="{758E5146-8EEB-499A-B27E-1F1D79D491A2}">
      <dgm:prSet/>
      <dgm:spPr/>
      <dgm:t>
        <a:bodyPr/>
        <a:lstStyle/>
        <a:p>
          <a:endParaRPr lang="en-US"/>
        </a:p>
      </dgm:t>
    </dgm:pt>
    <dgm:pt modelId="{9BAA7718-FC8C-4975-B0CA-BD4E46A07CAE}" type="sibTrans" cxnId="{758E5146-8EEB-499A-B27E-1F1D79D491A2}">
      <dgm:prSet/>
      <dgm:spPr/>
      <dgm:t>
        <a:bodyPr/>
        <a:lstStyle/>
        <a:p>
          <a:endParaRPr lang="en-US"/>
        </a:p>
      </dgm:t>
    </dgm:pt>
    <dgm:pt modelId="{5C5DB77A-99CB-42A6-816F-606A6A102D3A}">
      <dgm:prSet/>
      <dgm:spPr/>
      <dgm:t>
        <a:bodyPr/>
        <a:lstStyle/>
        <a:p>
          <a:r>
            <a:rPr lang="en-US"/>
            <a:t>Moving forward 90 day handbook changes to reduce the need of Circulars</a:t>
          </a:r>
          <a:endParaRPr lang="en-US" dirty="0"/>
        </a:p>
      </dgm:t>
    </dgm:pt>
    <dgm:pt modelId="{45A9CC3D-3036-48C9-A282-6ED90A2F5562}" type="parTrans" cxnId="{9D9BA837-E1CF-4618-B9F6-1710F0305B22}">
      <dgm:prSet/>
      <dgm:spPr/>
      <dgm:t>
        <a:bodyPr/>
        <a:lstStyle/>
        <a:p>
          <a:endParaRPr lang="en-US"/>
        </a:p>
      </dgm:t>
    </dgm:pt>
    <dgm:pt modelId="{4D262FF7-5B35-4CF1-82F4-8E9380AC04A6}" type="sibTrans" cxnId="{9D9BA837-E1CF-4618-B9F6-1710F0305B22}">
      <dgm:prSet/>
      <dgm:spPr/>
      <dgm:t>
        <a:bodyPr/>
        <a:lstStyle/>
        <a:p>
          <a:endParaRPr lang="en-US"/>
        </a:p>
      </dgm:t>
    </dgm:pt>
    <dgm:pt modelId="{64E5C780-D083-479C-82E1-16C0E7346972}" type="pres">
      <dgm:prSet presAssocID="{54AE54BF-7FB5-463F-A584-5814328F2782}" presName="diagram" presStyleCnt="0">
        <dgm:presLayoutVars>
          <dgm:dir/>
          <dgm:resizeHandles val="exact"/>
        </dgm:presLayoutVars>
      </dgm:prSet>
      <dgm:spPr/>
    </dgm:pt>
    <dgm:pt modelId="{FDF43323-BB83-40EB-9E8A-A930867DD694}" type="pres">
      <dgm:prSet presAssocID="{0C2C103C-A082-4C47-A352-8904810E140C}" presName="node" presStyleLbl="node1" presStyleIdx="0" presStyleCnt="7">
        <dgm:presLayoutVars>
          <dgm:bulletEnabled val="1"/>
        </dgm:presLayoutVars>
      </dgm:prSet>
      <dgm:spPr/>
    </dgm:pt>
    <dgm:pt modelId="{60DC0523-63FA-4483-A118-E7AEAB0EEFAD}" type="pres">
      <dgm:prSet presAssocID="{807A86AA-D00D-43E8-84AF-D37B88EAD8A1}" presName="sibTrans" presStyleCnt="0"/>
      <dgm:spPr/>
    </dgm:pt>
    <dgm:pt modelId="{FAF0532D-AA46-4FE0-BC10-0026D195A63E}" type="pres">
      <dgm:prSet presAssocID="{EE23562F-C069-4076-BA55-CCD2B5011F4D}" presName="node" presStyleLbl="node1" presStyleIdx="1" presStyleCnt="7">
        <dgm:presLayoutVars>
          <dgm:bulletEnabled val="1"/>
        </dgm:presLayoutVars>
      </dgm:prSet>
      <dgm:spPr/>
    </dgm:pt>
    <dgm:pt modelId="{110ED91E-CB7C-4206-84BB-12C9BB533F78}" type="pres">
      <dgm:prSet presAssocID="{5B0162C0-0987-43A2-8400-BA9D0877F894}" presName="sibTrans" presStyleCnt="0"/>
      <dgm:spPr/>
    </dgm:pt>
    <dgm:pt modelId="{A38AE628-E386-4C25-82C8-7DC1FE7D21DC}" type="pres">
      <dgm:prSet presAssocID="{E70B75B4-C929-40EB-9DD0-55FB835D34A2}" presName="node" presStyleLbl="node1" presStyleIdx="2" presStyleCnt="7">
        <dgm:presLayoutVars>
          <dgm:bulletEnabled val="1"/>
        </dgm:presLayoutVars>
      </dgm:prSet>
      <dgm:spPr/>
    </dgm:pt>
    <dgm:pt modelId="{9530EEF0-36BC-4B54-AF8F-09CCD38753C4}" type="pres">
      <dgm:prSet presAssocID="{55EEE54E-7A08-4BCC-8BBB-F1F6BF02B37F}" presName="sibTrans" presStyleCnt="0"/>
      <dgm:spPr/>
    </dgm:pt>
    <dgm:pt modelId="{3AAE6D6A-8002-415F-8FE2-5F4E9B4BBC91}" type="pres">
      <dgm:prSet presAssocID="{C209CC58-3A3E-44A8-94D5-35330902976E}" presName="node" presStyleLbl="node1" presStyleIdx="3" presStyleCnt="7">
        <dgm:presLayoutVars>
          <dgm:bulletEnabled val="1"/>
        </dgm:presLayoutVars>
      </dgm:prSet>
      <dgm:spPr/>
    </dgm:pt>
    <dgm:pt modelId="{CE3E76E4-741A-4691-8EE8-4F84382E591E}" type="pres">
      <dgm:prSet presAssocID="{F302DDCE-4241-47D2-8537-5A603F9D5D30}" presName="sibTrans" presStyleCnt="0"/>
      <dgm:spPr/>
    </dgm:pt>
    <dgm:pt modelId="{353EC59F-4CF8-4522-A676-D3D848FCAD09}" type="pres">
      <dgm:prSet presAssocID="{A475C8C0-CA8B-4669-9D08-CE1D721C9DEA}" presName="node" presStyleLbl="node1" presStyleIdx="4" presStyleCnt="7">
        <dgm:presLayoutVars>
          <dgm:bulletEnabled val="1"/>
        </dgm:presLayoutVars>
      </dgm:prSet>
      <dgm:spPr/>
    </dgm:pt>
    <dgm:pt modelId="{C9D6B494-5F2D-4021-BAB4-F0B953CD3644}" type="pres">
      <dgm:prSet presAssocID="{B4D074BC-7E7D-4021-8837-ED0B1FB82FAD}" presName="sibTrans" presStyleCnt="0"/>
      <dgm:spPr/>
    </dgm:pt>
    <dgm:pt modelId="{995C078B-B5B5-4D79-8172-4843DE3EB552}" type="pres">
      <dgm:prSet presAssocID="{5C5DB77A-99CB-42A6-816F-606A6A102D3A}" presName="node" presStyleLbl="node1" presStyleIdx="5" presStyleCnt="7">
        <dgm:presLayoutVars>
          <dgm:bulletEnabled val="1"/>
        </dgm:presLayoutVars>
      </dgm:prSet>
      <dgm:spPr/>
    </dgm:pt>
    <dgm:pt modelId="{95EAE9C9-C388-407C-8A3B-40086C94227D}" type="pres">
      <dgm:prSet presAssocID="{4D262FF7-5B35-4CF1-82F4-8E9380AC04A6}" presName="sibTrans" presStyleCnt="0"/>
      <dgm:spPr/>
    </dgm:pt>
    <dgm:pt modelId="{17472D1E-910A-4B30-A96E-2C41EC2E182A}" type="pres">
      <dgm:prSet presAssocID="{FDCEE3E5-A4E0-42F2-BEE3-847E2B9D127A}" presName="node" presStyleLbl="node1" presStyleIdx="6" presStyleCnt="7" custScaleX="100029" custLinFactNeighborX="7" custLinFactNeighborY="-11103">
        <dgm:presLayoutVars>
          <dgm:bulletEnabled val="1"/>
        </dgm:presLayoutVars>
      </dgm:prSet>
      <dgm:spPr/>
    </dgm:pt>
  </dgm:ptLst>
  <dgm:cxnLst>
    <dgm:cxn modelId="{C763DC1D-717A-48D5-8FEA-3249457AE39F}" srcId="{54AE54BF-7FB5-463F-A584-5814328F2782}" destId="{C209CC58-3A3E-44A8-94D5-35330902976E}" srcOrd="3" destOrd="0" parTransId="{C24E4DC9-C1FA-4F1E-BC78-0F45A5CD8937}" sibTransId="{F302DDCE-4241-47D2-8537-5A603F9D5D30}"/>
    <dgm:cxn modelId="{12A89926-A4C1-4DF3-9CF2-BC1960B68C4E}" type="presOf" srcId="{54AE54BF-7FB5-463F-A584-5814328F2782}" destId="{64E5C780-D083-479C-82E1-16C0E7346972}" srcOrd="0" destOrd="0" presId="urn:microsoft.com/office/officeart/2005/8/layout/default"/>
    <dgm:cxn modelId="{307F3C27-E5EF-4D15-AA3A-D19401F5FA06}" type="presOf" srcId="{5C5DB77A-99CB-42A6-816F-606A6A102D3A}" destId="{995C078B-B5B5-4D79-8172-4843DE3EB552}" srcOrd="0" destOrd="0" presId="urn:microsoft.com/office/officeart/2005/8/layout/default"/>
    <dgm:cxn modelId="{9D9BA837-E1CF-4618-B9F6-1710F0305B22}" srcId="{54AE54BF-7FB5-463F-A584-5814328F2782}" destId="{5C5DB77A-99CB-42A6-816F-606A6A102D3A}" srcOrd="5" destOrd="0" parTransId="{45A9CC3D-3036-48C9-A282-6ED90A2F5562}" sibTransId="{4D262FF7-5B35-4CF1-82F4-8E9380AC04A6}"/>
    <dgm:cxn modelId="{CADEC338-3703-40A0-9A24-B33851574590}" srcId="{54AE54BF-7FB5-463F-A584-5814328F2782}" destId="{A475C8C0-CA8B-4669-9D08-CE1D721C9DEA}" srcOrd="4" destOrd="0" parTransId="{C7A10994-1160-4C1F-8F13-63793973C9B3}" sibTransId="{B4D074BC-7E7D-4021-8837-ED0B1FB82FAD}"/>
    <dgm:cxn modelId="{E0D49C43-C689-46C0-8143-D9C0F9BFA7E1}" type="presOf" srcId="{E70B75B4-C929-40EB-9DD0-55FB835D34A2}" destId="{A38AE628-E386-4C25-82C8-7DC1FE7D21DC}" srcOrd="0" destOrd="0" presId="urn:microsoft.com/office/officeart/2005/8/layout/default"/>
    <dgm:cxn modelId="{758E5146-8EEB-499A-B27E-1F1D79D491A2}" srcId="{54AE54BF-7FB5-463F-A584-5814328F2782}" destId="{FDCEE3E5-A4E0-42F2-BEE3-847E2B9D127A}" srcOrd="6" destOrd="0" parTransId="{9CFEC342-7B04-442C-A4A4-A777BE7645A5}" sibTransId="{9BAA7718-FC8C-4975-B0CA-BD4E46A07CAE}"/>
    <dgm:cxn modelId="{2EA18969-B038-4EC1-9D07-08EABF6E683D}" type="presOf" srcId="{EE23562F-C069-4076-BA55-CCD2B5011F4D}" destId="{FAF0532D-AA46-4FE0-BC10-0026D195A63E}" srcOrd="0" destOrd="0" presId="urn:microsoft.com/office/officeart/2005/8/layout/default"/>
    <dgm:cxn modelId="{C365544B-E297-472D-B769-A9E46E16F3E7}" type="presOf" srcId="{0C2C103C-A082-4C47-A352-8904810E140C}" destId="{FDF43323-BB83-40EB-9E8A-A930867DD694}" srcOrd="0" destOrd="0" presId="urn:microsoft.com/office/officeart/2005/8/layout/default"/>
    <dgm:cxn modelId="{3D8FD94C-047B-4B8C-9606-7C2CA03D826F}" type="presOf" srcId="{C209CC58-3A3E-44A8-94D5-35330902976E}" destId="{3AAE6D6A-8002-415F-8FE2-5F4E9B4BBC91}" srcOrd="0" destOrd="0" presId="urn:microsoft.com/office/officeart/2005/8/layout/default"/>
    <dgm:cxn modelId="{6859A875-D673-4FF8-B560-EA604C165C63}" type="presOf" srcId="{A475C8C0-CA8B-4669-9D08-CE1D721C9DEA}" destId="{353EC59F-4CF8-4522-A676-D3D848FCAD09}" srcOrd="0" destOrd="0" presId="urn:microsoft.com/office/officeart/2005/8/layout/default"/>
    <dgm:cxn modelId="{26383AA1-2305-44A0-B095-822ED1416DEA}" type="presOf" srcId="{FDCEE3E5-A4E0-42F2-BEE3-847E2B9D127A}" destId="{17472D1E-910A-4B30-A96E-2C41EC2E182A}" srcOrd="0" destOrd="0" presId="urn:microsoft.com/office/officeart/2005/8/layout/default"/>
    <dgm:cxn modelId="{C899ABC8-B156-4DE5-9A1E-FE6C626591F7}" srcId="{54AE54BF-7FB5-463F-A584-5814328F2782}" destId="{E70B75B4-C929-40EB-9DD0-55FB835D34A2}" srcOrd="2" destOrd="0" parTransId="{D64D8906-0D99-4A82-BF2D-FDB948735763}" sibTransId="{55EEE54E-7A08-4BCC-8BBB-F1F6BF02B37F}"/>
    <dgm:cxn modelId="{2EB07EE2-B622-4197-8BD6-2393FF35C5AE}" srcId="{54AE54BF-7FB5-463F-A584-5814328F2782}" destId="{0C2C103C-A082-4C47-A352-8904810E140C}" srcOrd="0" destOrd="0" parTransId="{E5F86C3A-7820-4E3B-B26D-4D818A09742D}" sibTransId="{807A86AA-D00D-43E8-84AF-D37B88EAD8A1}"/>
    <dgm:cxn modelId="{881782F9-7E6F-43E9-AFCF-4D2434E2AFD1}" srcId="{54AE54BF-7FB5-463F-A584-5814328F2782}" destId="{EE23562F-C069-4076-BA55-CCD2B5011F4D}" srcOrd="1" destOrd="0" parTransId="{14D21A49-BB60-4642-8FE0-3FDE6A813E18}" sibTransId="{5B0162C0-0987-43A2-8400-BA9D0877F894}"/>
    <dgm:cxn modelId="{1494E183-DD9B-438C-9ADF-54408AA20B3A}" type="presParOf" srcId="{64E5C780-D083-479C-82E1-16C0E7346972}" destId="{FDF43323-BB83-40EB-9E8A-A930867DD694}" srcOrd="0" destOrd="0" presId="urn:microsoft.com/office/officeart/2005/8/layout/default"/>
    <dgm:cxn modelId="{62158885-6EEC-4C1F-A030-4A9B4C1EB037}" type="presParOf" srcId="{64E5C780-D083-479C-82E1-16C0E7346972}" destId="{60DC0523-63FA-4483-A118-E7AEAB0EEFAD}" srcOrd="1" destOrd="0" presId="urn:microsoft.com/office/officeart/2005/8/layout/default"/>
    <dgm:cxn modelId="{F346548D-C79D-4DF7-9DAA-100AE0CD95CD}" type="presParOf" srcId="{64E5C780-D083-479C-82E1-16C0E7346972}" destId="{FAF0532D-AA46-4FE0-BC10-0026D195A63E}" srcOrd="2" destOrd="0" presId="urn:microsoft.com/office/officeart/2005/8/layout/default"/>
    <dgm:cxn modelId="{00A3963D-8E16-4F20-973D-A88385984CC4}" type="presParOf" srcId="{64E5C780-D083-479C-82E1-16C0E7346972}" destId="{110ED91E-CB7C-4206-84BB-12C9BB533F78}" srcOrd="3" destOrd="0" presId="urn:microsoft.com/office/officeart/2005/8/layout/default"/>
    <dgm:cxn modelId="{0A35EDD0-0548-49C3-B599-43E3BF2C7809}" type="presParOf" srcId="{64E5C780-D083-479C-82E1-16C0E7346972}" destId="{A38AE628-E386-4C25-82C8-7DC1FE7D21DC}" srcOrd="4" destOrd="0" presId="urn:microsoft.com/office/officeart/2005/8/layout/default"/>
    <dgm:cxn modelId="{A88F7348-AE66-41D7-9758-82B77DF01F02}" type="presParOf" srcId="{64E5C780-D083-479C-82E1-16C0E7346972}" destId="{9530EEF0-36BC-4B54-AF8F-09CCD38753C4}" srcOrd="5" destOrd="0" presId="urn:microsoft.com/office/officeart/2005/8/layout/default"/>
    <dgm:cxn modelId="{940F552B-E716-4ED7-8242-FAAD3B55F4DC}" type="presParOf" srcId="{64E5C780-D083-479C-82E1-16C0E7346972}" destId="{3AAE6D6A-8002-415F-8FE2-5F4E9B4BBC91}" srcOrd="6" destOrd="0" presId="urn:microsoft.com/office/officeart/2005/8/layout/default"/>
    <dgm:cxn modelId="{91A38BC2-0AB3-4246-8C39-DBA1665E7710}" type="presParOf" srcId="{64E5C780-D083-479C-82E1-16C0E7346972}" destId="{CE3E76E4-741A-4691-8EE8-4F84382E591E}" srcOrd="7" destOrd="0" presId="urn:microsoft.com/office/officeart/2005/8/layout/default"/>
    <dgm:cxn modelId="{0AF79AFE-3F76-4AF2-8AF1-2AA5A3C02181}" type="presParOf" srcId="{64E5C780-D083-479C-82E1-16C0E7346972}" destId="{353EC59F-4CF8-4522-A676-D3D848FCAD09}" srcOrd="8" destOrd="0" presId="urn:microsoft.com/office/officeart/2005/8/layout/default"/>
    <dgm:cxn modelId="{E549C416-784F-47BE-AAD5-A86AD3DA8F49}" type="presParOf" srcId="{64E5C780-D083-479C-82E1-16C0E7346972}" destId="{C9D6B494-5F2D-4021-BAB4-F0B953CD3644}" srcOrd="9" destOrd="0" presId="urn:microsoft.com/office/officeart/2005/8/layout/default"/>
    <dgm:cxn modelId="{37B9FC23-78CE-429A-8AF3-FBEC8D0A2BC5}" type="presParOf" srcId="{64E5C780-D083-479C-82E1-16C0E7346972}" destId="{995C078B-B5B5-4D79-8172-4843DE3EB552}" srcOrd="10" destOrd="0" presId="urn:microsoft.com/office/officeart/2005/8/layout/default"/>
    <dgm:cxn modelId="{ACAE27E4-ACDB-443A-A908-FC3C9EF29925}" type="presParOf" srcId="{64E5C780-D083-479C-82E1-16C0E7346972}" destId="{95EAE9C9-C388-407C-8A3B-40086C94227D}" srcOrd="11" destOrd="0" presId="urn:microsoft.com/office/officeart/2005/8/layout/default"/>
    <dgm:cxn modelId="{006195CD-647C-4259-8568-782F4A160161}" type="presParOf" srcId="{64E5C780-D083-479C-82E1-16C0E7346972}" destId="{17472D1E-910A-4B30-A96E-2C41EC2E182A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901A84-6604-496B-B984-FEF0A2563C39}">
      <dsp:nvSpPr>
        <dsp:cNvPr id="0" name=""/>
        <dsp:cNvSpPr/>
      </dsp:nvSpPr>
      <dsp:spPr>
        <a:xfrm>
          <a:off x="3122116" y="1102816"/>
          <a:ext cx="2747367" cy="2747367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500" kern="1200" dirty="0"/>
            <a:t>Veteran Centric</a:t>
          </a:r>
        </a:p>
      </dsp:txBody>
      <dsp:txXfrm>
        <a:off x="3524459" y="1505159"/>
        <a:ext cx="1942681" cy="1942681"/>
      </dsp:txXfrm>
    </dsp:sp>
    <dsp:sp modelId="{1559240B-8E0E-482D-A5E7-3FBBF73B29E1}">
      <dsp:nvSpPr>
        <dsp:cNvPr id="0" name=""/>
        <dsp:cNvSpPr/>
      </dsp:nvSpPr>
      <dsp:spPr>
        <a:xfrm>
          <a:off x="3808958" y="490"/>
          <a:ext cx="1373683" cy="1373683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utomation</a:t>
          </a:r>
        </a:p>
      </dsp:txBody>
      <dsp:txXfrm>
        <a:off x="4010129" y="201661"/>
        <a:ext cx="971341" cy="971341"/>
      </dsp:txXfrm>
    </dsp:sp>
    <dsp:sp modelId="{1C1C1BC4-D082-4058-BDFC-82AFF88D9287}">
      <dsp:nvSpPr>
        <dsp:cNvPr id="0" name=""/>
        <dsp:cNvSpPr/>
      </dsp:nvSpPr>
      <dsp:spPr>
        <a:xfrm>
          <a:off x="5598126" y="1789658"/>
          <a:ext cx="1373683" cy="1373683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Customer Relationships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Supply Chain Management</a:t>
          </a:r>
        </a:p>
      </dsp:txBody>
      <dsp:txXfrm>
        <a:off x="5799297" y="1990829"/>
        <a:ext cx="971341" cy="971341"/>
      </dsp:txXfrm>
    </dsp:sp>
    <dsp:sp modelId="{F28DD3A3-ADDA-463E-9274-15993C915653}">
      <dsp:nvSpPr>
        <dsp:cNvPr id="0" name=""/>
        <dsp:cNvSpPr/>
      </dsp:nvSpPr>
      <dsp:spPr>
        <a:xfrm>
          <a:off x="3808958" y="3578826"/>
          <a:ext cx="1373683" cy="137368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reating a CI Culture</a:t>
          </a:r>
        </a:p>
      </dsp:txBody>
      <dsp:txXfrm>
        <a:off x="4010129" y="3779997"/>
        <a:ext cx="971341" cy="971341"/>
      </dsp:txXfrm>
    </dsp:sp>
    <dsp:sp modelId="{003CBE39-0D3F-4C08-9689-880D4E1CDBF3}">
      <dsp:nvSpPr>
        <dsp:cNvPr id="0" name=""/>
        <dsp:cNvSpPr/>
      </dsp:nvSpPr>
      <dsp:spPr>
        <a:xfrm>
          <a:off x="2019790" y="1789658"/>
          <a:ext cx="1373683" cy="1373683"/>
        </a:xfrm>
        <a:prstGeom prst="ellipse">
          <a:avLst/>
        </a:prstGeom>
        <a:solidFill>
          <a:schemeClr val="accent6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ata-Drive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Decisions</a:t>
          </a:r>
        </a:p>
      </dsp:txBody>
      <dsp:txXfrm>
        <a:off x="2220961" y="1990829"/>
        <a:ext cx="971341" cy="9713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5C4C6A-6B77-49AF-8F32-2EBD63D6833D}">
      <dsp:nvSpPr>
        <dsp:cNvPr id="0" name=""/>
        <dsp:cNvSpPr/>
      </dsp:nvSpPr>
      <dsp:spPr>
        <a:xfrm>
          <a:off x="949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Historical</a:t>
          </a:r>
        </a:p>
      </dsp:txBody>
      <dsp:txXfrm>
        <a:off x="949" y="0"/>
        <a:ext cx="2468746" cy="1405890"/>
      </dsp:txXfrm>
    </dsp:sp>
    <dsp:sp modelId="{C3A36CA8-E3BB-466A-B0A3-7A01C08E8EE6}">
      <dsp:nvSpPr>
        <dsp:cNvPr id="0" name=""/>
        <dsp:cNvSpPr/>
      </dsp:nvSpPr>
      <dsp:spPr>
        <a:xfrm>
          <a:off x="247824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23 Million loans since 1944 – totaling $2.1 Trillion</a:t>
          </a:r>
        </a:p>
      </dsp:txBody>
      <dsp:txXfrm>
        <a:off x="305670" y="1463736"/>
        <a:ext cx="1859304" cy="2930403"/>
      </dsp:txXfrm>
    </dsp:sp>
    <dsp:sp modelId="{E8C4D44B-F10F-4354-83AE-52976331134C}">
      <dsp:nvSpPr>
        <dsp:cNvPr id="0" name=""/>
        <dsp:cNvSpPr/>
      </dsp:nvSpPr>
      <dsp:spPr>
        <a:xfrm>
          <a:off x="2654851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FY18</a:t>
          </a:r>
        </a:p>
      </dsp:txBody>
      <dsp:txXfrm>
        <a:off x="2654851" y="0"/>
        <a:ext cx="2468746" cy="1405890"/>
      </dsp:txXfrm>
    </dsp:sp>
    <dsp:sp modelId="{E1E195FD-C8D0-46C3-AF58-CD73FB37F7D9}">
      <dsp:nvSpPr>
        <dsp:cNvPr id="0" name=""/>
        <dsp:cNvSpPr/>
      </dsp:nvSpPr>
      <dsp:spPr>
        <a:xfrm>
          <a:off x="2901726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In FY18, guaranteed 2,442 loans per business day, totaling $645M each day</a:t>
          </a:r>
        </a:p>
      </dsp:txBody>
      <dsp:txXfrm>
        <a:off x="2959572" y="1463736"/>
        <a:ext cx="1859304" cy="2930403"/>
      </dsp:txXfrm>
    </dsp:sp>
    <dsp:sp modelId="{F0B97946-F307-43E5-A514-35D2FC84AA70}">
      <dsp:nvSpPr>
        <dsp:cNvPr id="0" name=""/>
        <dsp:cNvSpPr/>
      </dsp:nvSpPr>
      <dsp:spPr>
        <a:xfrm>
          <a:off x="5308753" y="0"/>
          <a:ext cx="2468746" cy="4686300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7160" tIns="137160" rIns="137160" bIns="1371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Foreclosure Rates</a:t>
          </a:r>
        </a:p>
      </dsp:txBody>
      <dsp:txXfrm>
        <a:off x="5308753" y="0"/>
        <a:ext cx="2468746" cy="1405890"/>
      </dsp:txXfrm>
    </dsp:sp>
    <dsp:sp modelId="{0D26D38E-0EB9-4A64-A23A-1C07AAAD6B8C}">
      <dsp:nvSpPr>
        <dsp:cNvPr id="0" name=""/>
        <dsp:cNvSpPr/>
      </dsp:nvSpPr>
      <dsp:spPr>
        <a:xfrm>
          <a:off x="5555628" y="1405890"/>
          <a:ext cx="1974996" cy="304609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260" tIns="36195" rIns="48260" bIns="36195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VA - Guaranteed loans maintained the 2</a:t>
          </a:r>
          <a:r>
            <a:rPr lang="en-US" sz="1900" kern="1200" baseline="30000" dirty="0"/>
            <a:t>nd</a:t>
          </a:r>
          <a:r>
            <a:rPr lang="en-US" sz="1900" kern="1200" dirty="0"/>
            <a:t> lowest foreclosure (0.87%) and SD rates (1.96%)in the industry Conventional loans are second.	</a:t>
          </a:r>
        </a:p>
      </dsp:txBody>
      <dsp:txXfrm>
        <a:off x="5613474" y="1463736"/>
        <a:ext cx="1859304" cy="293040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F43323-BB83-40EB-9E8A-A930867DD694}">
      <dsp:nvSpPr>
        <dsp:cNvPr id="0" name=""/>
        <dsp:cNvSpPr/>
      </dsp:nvSpPr>
      <dsp:spPr>
        <a:xfrm>
          <a:off x="282535" y="372"/>
          <a:ext cx="2514227" cy="150853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UCD and ULAD Integration</a:t>
          </a:r>
        </a:p>
      </dsp:txBody>
      <dsp:txXfrm>
        <a:off x="282535" y="372"/>
        <a:ext cx="2514227" cy="1508536"/>
      </dsp:txXfrm>
    </dsp:sp>
    <dsp:sp modelId="{FAF0532D-AA46-4FE0-BC10-0026D195A63E}">
      <dsp:nvSpPr>
        <dsp:cNvPr id="0" name=""/>
        <dsp:cNvSpPr/>
      </dsp:nvSpPr>
      <dsp:spPr>
        <a:xfrm>
          <a:off x="3048186" y="372"/>
          <a:ext cx="2514227" cy="1508536"/>
        </a:xfrm>
        <a:prstGeom prst="rect">
          <a:avLst/>
        </a:prstGeom>
        <a:solidFill>
          <a:schemeClr val="accent4">
            <a:hueOff val="1786976"/>
            <a:satOff val="-13654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Lender Audit Revamp in conjunction with Lender Scorecards</a:t>
          </a:r>
          <a:endParaRPr lang="en-US" sz="2000" kern="1200" dirty="0"/>
        </a:p>
      </dsp:txBody>
      <dsp:txXfrm>
        <a:off x="3048186" y="372"/>
        <a:ext cx="2514227" cy="1508536"/>
      </dsp:txXfrm>
    </dsp:sp>
    <dsp:sp modelId="{A38AE628-E386-4C25-82C8-7DC1FE7D21DC}">
      <dsp:nvSpPr>
        <dsp:cNvPr id="0" name=""/>
        <dsp:cNvSpPr/>
      </dsp:nvSpPr>
      <dsp:spPr>
        <a:xfrm>
          <a:off x="5813836" y="372"/>
          <a:ext cx="2514227" cy="1508536"/>
        </a:xfrm>
        <a:prstGeom prst="rect">
          <a:avLst/>
        </a:prstGeom>
        <a:solidFill>
          <a:schemeClr val="accent4">
            <a:hueOff val="3573952"/>
            <a:satOff val="-27308"/>
            <a:lumOff val="-36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/>
            <a:t>Lender’s Handbook Updates to Continue</a:t>
          </a:r>
          <a:endParaRPr lang="en-US" sz="2000" kern="1200" dirty="0"/>
        </a:p>
      </dsp:txBody>
      <dsp:txXfrm>
        <a:off x="5813836" y="372"/>
        <a:ext cx="2514227" cy="1508536"/>
      </dsp:txXfrm>
    </dsp:sp>
    <dsp:sp modelId="{3AAE6D6A-8002-415F-8FE2-5F4E9B4BBC91}">
      <dsp:nvSpPr>
        <dsp:cNvPr id="0" name=""/>
        <dsp:cNvSpPr/>
      </dsp:nvSpPr>
      <dsp:spPr>
        <a:xfrm>
          <a:off x="282535" y="1760331"/>
          <a:ext cx="2514227" cy="1508536"/>
        </a:xfrm>
        <a:prstGeom prst="rect">
          <a:avLst/>
        </a:prstGeom>
        <a:solidFill>
          <a:schemeClr val="accent4">
            <a:hueOff val="5360928"/>
            <a:satOff val="-40963"/>
            <a:lumOff val="-5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i="0" kern="1200" dirty="0">
              <a:solidFill>
                <a:schemeClr val="bg1"/>
              </a:solidFill>
            </a:rPr>
            <a:t>Appraisal Management System Enhancements (AMS - Redesign)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282535" y="1760331"/>
        <a:ext cx="2514227" cy="1508536"/>
      </dsp:txXfrm>
    </dsp:sp>
    <dsp:sp modelId="{353EC59F-4CF8-4522-A676-D3D848FCAD09}">
      <dsp:nvSpPr>
        <dsp:cNvPr id="0" name=""/>
        <dsp:cNvSpPr/>
      </dsp:nvSpPr>
      <dsp:spPr>
        <a:xfrm>
          <a:off x="3048186" y="1760331"/>
          <a:ext cx="2514227" cy="1508536"/>
        </a:xfrm>
        <a:prstGeom prst="rect">
          <a:avLst/>
        </a:prstGeom>
        <a:solidFill>
          <a:schemeClr val="accent4">
            <a:hueOff val="7147904"/>
            <a:satOff val="-54617"/>
            <a:lumOff val="-73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New Servicing Platform Go Live</a:t>
          </a:r>
        </a:p>
      </dsp:txBody>
      <dsp:txXfrm>
        <a:off x="3048186" y="1760331"/>
        <a:ext cx="2514227" cy="1508536"/>
      </dsp:txXfrm>
    </dsp:sp>
    <dsp:sp modelId="{B4CCADA3-8E1F-4A6C-A692-5334C15ECBE3}">
      <dsp:nvSpPr>
        <dsp:cNvPr id="0" name=""/>
        <dsp:cNvSpPr/>
      </dsp:nvSpPr>
      <dsp:spPr>
        <a:xfrm>
          <a:off x="3048010" y="3505195"/>
          <a:ext cx="2514227" cy="1508536"/>
        </a:xfrm>
        <a:prstGeom prst="rect">
          <a:avLst/>
        </a:prstGeom>
        <a:solidFill>
          <a:schemeClr val="accent4">
            <a:hueOff val="8934879"/>
            <a:satOff val="-68271"/>
            <a:lumOff val="-9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IRRRL Proposed Rul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Cash-Out Final Rule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Enhanced Oversight and Analysis</a:t>
          </a:r>
        </a:p>
      </dsp:txBody>
      <dsp:txXfrm>
        <a:off x="3048010" y="3505195"/>
        <a:ext cx="2514227" cy="1508536"/>
      </dsp:txXfrm>
    </dsp:sp>
    <dsp:sp modelId="{7AED87EF-EED2-459E-BCD3-F3F198BF3B4B}">
      <dsp:nvSpPr>
        <dsp:cNvPr id="0" name=""/>
        <dsp:cNvSpPr/>
      </dsp:nvSpPr>
      <dsp:spPr>
        <a:xfrm>
          <a:off x="5867389" y="1752602"/>
          <a:ext cx="2514227" cy="1508536"/>
        </a:xfrm>
        <a:prstGeom prst="rect">
          <a:avLst/>
        </a:prstGeom>
        <a:solidFill>
          <a:schemeClr val="accent4">
            <a:hueOff val="10721856"/>
            <a:satOff val="-81925"/>
            <a:lumOff val="-10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Order COE before Appraisal</a:t>
          </a:r>
        </a:p>
      </dsp:txBody>
      <dsp:txXfrm>
        <a:off x="5867389" y="1752602"/>
        <a:ext cx="2514227" cy="150853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F43323-BB83-40EB-9E8A-A930867DD694}">
      <dsp:nvSpPr>
        <dsp:cNvPr id="0" name=""/>
        <dsp:cNvSpPr/>
      </dsp:nvSpPr>
      <dsp:spPr>
        <a:xfrm>
          <a:off x="282535" y="372"/>
          <a:ext cx="2514227" cy="150853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Appraisal Orders Unassigned: 26 days FY 2018 to 5 days this year</a:t>
          </a:r>
        </a:p>
      </dsp:txBody>
      <dsp:txXfrm>
        <a:off x="282535" y="372"/>
        <a:ext cx="2514227" cy="1508536"/>
      </dsp:txXfrm>
    </dsp:sp>
    <dsp:sp modelId="{FAF0532D-AA46-4FE0-BC10-0026D195A63E}">
      <dsp:nvSpPr>
        <dsp:cNvPr id="0" name=""/>
        <dsp:cNvSpPr/>
      </dsp:nvSpPr>
      <dsp:spPr>
        <a:xfrm>
          <a:off x="3048186" y="372"/>
          <a:ext cx="2514227" cy="1508536"/>
        </a:xfrm>
        <a:prstGeom prst="rect">
          <a:avLst/>
        </a:prstGeom>
        <a:solidFill>
          <a:schemeClr val="accent4">
            <a:hueOff val="1786976"/>
            <a:satOff val="-13654"/>
            <a:lumOff val="-18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Appraiser Recruitment – Appraisers in the right locations</a:t>
          </a:r>
        </a:p>
      </dsp:txBody>
      <dsp:txXfrm>
        <a:off x="3048186" y="372"/>
        <a:ext cx="2514227" cy="1508536"/>
      </dsp:txXfrm>
    </dsp:sp>
    <dsp:sp modelId="{A38AE628-E386-4C25-82C8-7DC1FE7D21DC}">
      <dsp:nvSpPr>
        <dsp:cNvPr id="0" name=""/>
        <dsp:cNvSpPr/>
      </dsp:nvSpPr>
      <dsp:spPr>
        <a:xfrm>
          <a:off x="5813836" y="372"/>
          <a:ext cx="2514227" cy="1508536"/>
        </a:xfrm>
        <a:prstGeom prst="rect">
          <a:avLst/>
        </a:prstGeom>
        <a:solidFill>
          <a:schemeClr val="accent4">
            <a:hueOff val="3573952"/>
            <a:satOff val="-27308"/>
            <a:lumOff val="-366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ustomer Service – Appraisers scheduling within 48 hours</a:t>
          </a:r>
        </a:p>
      </dsp:txBody>
      <dsp:txXfrm>
        <a:off x="5813836" y="372"/>
        <a:ext cx="2514227" cy="1508536"/>
      </dsp:txXfrm>
    </dsp:sp>
    <dsp:sp modelId="{3AAE6D6A-8002-415F-8FE2-5F4E9B4BBC91}">
      <dsp:nvSpPr>
        <dsp:cNvPr id="0" name=""/>
        <dsp:cNvSpPr/>
      </dsp:nvSpPr>
      <dsp:spPr>
        <a:xfrm>
          <a:off x="282535" y="1760331"/>
          <a:ext cx="2514227" cy="1508536"/>
        </a:xfrm>
        <a:prstGeom prst="rect">
          <a:avLst/>
        </a:prstGeom>
        <a:solidFill>
          <a:schemeClr val="accent4">
            <a:hueOff val="5360928"/>
            <a:satOff val="-40963"/>
            <a:lumOff val="-54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Cash Out </a:t>
          </a:r>
          <a:r>
            <a:rPr lang="en-US" sz="2100" kern="1200"/>
            <a:t>Regulatory Response </a:t>
          </a:r>
          <a:endParaRPr lang="en-US" sz="2100" kern="1200" dirty="0">
            <a:solidFill>
              <a:schemeClr val="bg1"/>
            </a:solidFill>
          </a:endParaRPr>
        </a:p>
      </dsp:txBody>
      <dsp:txXfrm>
        <a:off x="282535" y="1760331"/>
        <a:ext cx="2514227" cy="1508536"/>
      </dsp:txXfrm>
    </dsp:sp>
    <dsp:sp modelId="{353EC59F-4CF8-4522-A676-D3D848FCAD09}">
      <dsp:nvSpPr>
        <dsp:cNvPr id="0" name=""/>
        <dsp:cNvSpPr/>
      </dsp:nvSpPr>
      <dsp:spPr>
        <a:xfrm>
          <a:off x="3048186" y="1760331"/>
          <a:ext cx="2514227" cy="1508536"/>
        </a:xfrm>
        <a:prstGeom prst="rect">
          <a:avLst/>
        </a:prstGeom>
        <a:solidFill>
          <a:schemeClr val="accent4">
            <a:hueOff val="7147904"/>
            <a:satOff val="-54617"/>
            <a:lumOff val="-73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/>
            <a:t>Disclosures for Refinancing and C/O Rule</a:t>
          </a:r>
        </a:p>
      </dsp:txBody>
      <dsp:txXfrm>
        <a:off x="3048186" y="1760331"/>
        <a:ext cx="2514227" cy="1508536"/>
      </dsp:txXfrm>
    </dsp:sp>
    <dsp:sp modelId="{995C078B-B5B5-4D79-8172-4843DE3EB552}">
      <dsp:nvSpPr>
        <dsp:cNvPr id="0" name=""/>
        <dsp:cNvSpPr/>
      </dsp:nvSpPr>
      <dsp:spPr>
        <a:xfrm>
          <a:off x="5813836" y="1760331"/>
          <a:ext cx="2514227" cy="1508536"/>
        </a:xfrm>
        <a:prstGeom prst="rect">
          <a:avLst/>
        </a:prstGeom>
        <a:solidFill>
          <a:schemeClr val="accent4">
            <a:hueOff val="8934879"/>
            <a:satOff val="-68271"/>
            <a:lumOff val="-91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/>
            <a:t>Moving forward 90 day handbook changes to reduce the need of Circulars</a:t>
          </a:r>
          <a:endParaRPr lang="en-US" sz="2100" kern="1200" dirty="0"/>
        </a:p>
      </dsp:txBody>
      <dsp:txXfrm>
        <a:off x="5813836" y="1760331"/>
        <a:ext cx="2514227" cy="1508536"/>
      </dsp:txXfrm>
    </dsp:sp>
    <dsp:sp modelId="{17472D1E-910A-4B30-A96E-2C41EC2E182A}">
      <dsp:nvSpPr>
        <dsp:cNvPr id="0" name=""/>
        <dsp:cNvSpPr/>
      </dsp:nvSpPr>
      <dsp:spPr>
        <a:xfrm>
          <a:off x="3047997" y="3352798"/>
          <a:ext cx="2514957" cy="1508536"/>
        </a:xfrm>
        <a:prstGeom prst="rect">
          <a:avLst/>
        </a:prstGeom>
        <a:solidFill>
          <a:schemeClr val="accent4">
            <a:hueOff val="10721856"/>
            <a:satOff val="-81925"/>
            <a:lumOff val="-1098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100" kern="1200" dirty="0"/>
            <a:t>Pamphlet 26-7</a:t>
          </a:r>
        </a:p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2100" kern="1200" dirty="0"/>
            <a:t>Chapters 1, 4, 5, 7, 9, 10, 11, 12, 13 have been released</a:t>
          </a:r>
        </a:p>
      </dsp:txBody>
      <dsp:txXfrm>
        <a:off x="3047997" y="3352798"/>
        <a:ext cx="2514957" cy="150853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04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04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FAC2D3F2-3F3C-46B9-A32D-9114B1DC4AA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035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0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32B38A7-CB24-4506-9566-ED9223B9C3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9513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25679"/>
            <a:ext cx="5608320" cy="4742121"/>
          </a:xfrm>
        </p:spPr>
        <p:txBody>
          <a:bodyPr/>
          <a:lstStyle/>
          <a:p>
            <a:pPr marL="228600" indent="-228600">
              <a:buFont typeface="+mj-lt"/>
              <a:buAutoNum type="arabicParenR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57845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325679"/>
            <a:ext cx="5608320" cy="4742121"/>
          </a:xfrm>
        </p:spPr>
        <p:txBody>
          <a:bodyPr/>
          <a:lstStyle/>
          <a:p>
            <a:pPr marL="228600" indent="-228600">
              <a:buFont typeface="+mj-lt"/>
              <a:buAutoNum type="arabicParenR"/>
            </a:pPr>
            <a:endParaRPr lang="en-US" dirty="0"/>
          </a:p>
          <a:p>
            <a:pPr marL="228600" indent="-228600">
              <a:buFont typeface="+mj-lt"/>
              <a:buAutoNum type="arabicParenR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6F7D25-770E-4F77-8331-8C84F68246B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33336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5031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35DA94FD-F4FB-48B5-A6CD-07352E75A1A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1656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009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4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EBA014E2-FA64-4590-9072-E2C87772D1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6134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5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8A59E291-E7E7-4F32-9F3A-85D2DB6683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976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6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0FA9F60D-64FC-464C-955B-377CF2EEE0E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8652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7</a:t>
            </a:fld>
            <a:endParaRPr lang="en-US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B324B9B-5464-4070-AC97-66F7D2B614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5161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9463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946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457622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66686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460955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6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32834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80827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621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7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2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2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6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6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18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00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19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1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2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6.xml"/><Relationship Id="rId4" Type="http://schemas.openxmlformats.org/officeDocument/2006/relationships/vmlDrawing" Target="../drawings/vmlDrawing25.v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9.xml"/><Relationship Id="rId4" Type="http://schemas.openxmlformats.org/officeDocument/2006/relationships/vmlDrawing" Target="../drawings/vmlDrawing28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25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34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0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58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49664041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303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56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28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2" r:id="rId1"/>
    <p:sldLayoutId id="2147484853" r:id="rId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endParaRPr lang="en-US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3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70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74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7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Relationship Id="rId9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7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9.pn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19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7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9.png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terans Benefits Administr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89827" y="2667000"/>
            <a:ext cx="702365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tx2"/>
                </a:solidFill>
              </a:rPr>
              <a:t>2019 VA LENDERS’ CONFERENCE</a:t>
            </a:r>
          </a:p>
          <a:p>
            <a:pPr algn="ctr"/>
            <a:r>
              <a:rPr lang="en-US" sz="4000" b="1" dirty="0">
                <a:solidFill>
                  <a:schemeClr val="tx2"/>
                </a:solidFill>
              </a:rPr>
              <a:t>Director’s Welcome</a:t>
            </a:r>
          </a:p>
        </p:txBody>
      </p:sp>
      <p:pic>
        <p:nvPicPr>
          <p:cNvPr id="5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FAD983F1-2936-43FD-AF95-671DB06B2F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0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2719792"/>
              </p:ext>
            </p:extLst>
          </p:nvPr>
        </p:nvGraphicFramePr>
        <p:xfrm>
          <a:off x="228600" y="990599"/>
          <a:ext cx="8610600" cy="3657602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526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333486">
                <a:tc>
                  <a:txBody>
                    <a:bodyPr/>
                    <a:lstStyle/>
                    <a:p>
                      <a:pPr algn="ctr"/>
                      <a:endParaRPr lang="en-US" sz="23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/>
                        <a:t>Conven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/>
                        <a:t>FH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/>
                        <a:t>VA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2577">
                <a:tc>
                  <a:txBody>
                    <a:bodyPr/>
                    <a:lstStyle/>
                    <a:p>
                      <a:r>
                        <a:rPr lang="en-US" i="1" dirty="0"/>
                        <a:t>Total</a:t>
                      </a:r>
                      <a:r>
                        <a:rPr lang="en-US" i="1" baseline="0" dirty="0"/>
                        <a:t> Past Due</a:t>
                      </a:r>
                      <a:endParaRPr lang="en-US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3.1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8.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3.7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78962">
                <a:tc>
                  <a:txBody>
                    <a:bodyPr/>
                    <a:lstStyle/>
                    <a:p>
                      <a:r>
                        <a:rPr lang="en-US" i="1" dirty="0"/>
                        <a:t>Seriously Delinqu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1.7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3.7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1.96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2577">
                <a:tc>
                  <a:txBody>
                    <a:bodyPr/>
                    <a:lstStyle/>
                    <a:p>
                      <a:r>
                        <a:rPr lang="en-US" i="1" dirty="0"/>
                        <a:t>Foreclosure Inventory R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0.8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1.6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/>
                        <a:t>0.87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9" name="Title 3"/>
          <p:cNvSpPr txBox="1">
            <a:spLocks/>
          </p:cNvSpPr>
          <p:nvPr/>
        </p:nvSpPr>
        <p:spPr>
          <a:xfrm>
            <a:off x="914400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2800" dirty="0"/>
              <a:t>MBA Delinquency Survey Loan Data Q4 (CY) 2018 </a:t>
            </a:r>
          </a:p>
        </p:txBody>
      </p:sp>
      <p:pic>
        <p:nvPicPr>
          <p:cNvPr id="8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070CC6AC-60DD-41AB-BDA6-835FE5451C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173332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1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mpling of Projects (This Year)</a:t>
            </a: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014459054"/>
              </p:ext>
            </p:extLst>
          </p:nvPr>
        </p:nvGraphicFramePr>
        <p:xfrm>
          <a:off x="304800" y="914400"/>
          <a:ext cx="86106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C2648E37-A243-49A5-923E-0C2B3FEB79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172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hallenges – Solved in FY 2018</a:t>
            </a: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780556207"/>
              </p:ext>
            </p:extLst>
          </p:nvPr>
        </p:nvGraphicFramePr>
        <p:xfrm>
          <a:off x="304800" y="990600"/>
          <a:ext cx="86106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BBC24960-A57A-4081-BE27-A746E9C38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1212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13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234649" y="736600"/>
            <a:ext cx="82296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229600" cy="4678363"/>
          </a:xfrm>
        </p:spPr>
        <p:txBody>
          <a:bodyPr/>
          <a:lstStyle/>
          <a:p>
            <a:pPr>
              <a:buFont typeface="Wingdings" pitchFamily="2" charset="2"/>
              <a:buChar char="Ø"/>
              <a:defRPr/>
            </a:pP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 descr="http://mes.ccps.us/files/2015/11/thank-you-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1" y="1371599"/>
            <a:ext cx="8141676" cy="4233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FB9C089-2F61-441C-B3D6-2855075046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9238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2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14400" y="0"/>
            <a:ext cx="8229600" cy="685800"/>
          </a:xfrm>
        </p:spPr>
        <p:txBody>
          <a:bodyPr/>
          <a:lstStyle/>
          <a:p>
            <a:pPr algn="l"/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300" dirty="0">
                <a:cs typeface="Arial" panose="020B0604020202020204" pitchFamily="34" charset="0"/>
              </a:rPr>
              <a:t>Mission &amp; Vision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38100" y="2379583"/>
            <a:ext cx="9029700" cy="1298448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-76200" y="2379583"/>
            <a:ext cx="9182100" cy="1354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600" b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742950" indent="-285750" eaLnBrk="0" hangingPunct="0">
              <a:defRPr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ea typeface="MS PGothic" pitchFamily="34" charset="-128"/>
              </a:defRPr>
            </a:lvl9pPr>
          </a:lstStyle>
          <a:p>
            <a:pPr algn="ctr"/>
            <a:r>
              <a:rPr lang="en-US" sz="2000" b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Vision Statement</a:t>
            </a:r>
          </a:p>
          <a:p>
            <a:pPr algn="ctr"/>
            <a:endParaRPr lang="en-US" sz="1550" b="0" dirty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550" b="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empower Veterans with information and access to innovative products and services by providing a Veteran-focused experience, strengthening our partnerships, driving continuous performance improvements, and never forgetting who we serve. 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8100" y="931783"/>
            <a:ext cx="9029700" cy="1298448"/>
          </a:xfrm>
          <a:prstGeom prst="round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0" y="934831"/>
            <a:ext cx="9067800" cy="1592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algn="ctr" eaLnBrk="1" hangingPunct="1">
              <a:defRPr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ssion Statement</a:t>
            </a:r>
          </a:p>
          <a:p>
            <a:pPr algn="ctr" eaLnBrk="1" hangingPunct="1">
              <a:defRPr/>
            </a:pPr>
            <a:endParaRPr lang="en-US" sz="155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 eaLnBrk="1" hangingPunct="1">
              <a:defRPr/>
            </a:pPr>
            <a:r>
              <a:rPr lang="en-US" sz="155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ximize opportunities for Veterans and Servicemembers to obtain, retain, and adapt homes by providing a viable and fiscally responsible benefit program in recognition of their service to the Nation.</a:t>
            </a:r>
          </a:p>
          <a:p>
            <a:pPr eaLnBrk="1" hangingPunct="1">
              <a:defRPr/>
            </a:pPr>
            <a:endParaRPr lang="en-US" sz="15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defRPr/>
            </a:pPr>
            <a:endParaRPr lang="en-US" sz="15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2400" y="4114800"/>
            <a:ext cx="2809037" cy="1872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2563" y="4114800"/>
            <a:ext cx="2809037" cy="1872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6200" y="3962400"/>
            <a:ext cx="1371600" cy="2027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A36D27CC-2E87-4458-8933-3FC136A9B2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50191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3A477D-CE3A-4053-B60E-FFE350B4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44433" y="6398071"/>
            <a:ext cx="1839605" cy="365125"/>
          </a:xfrm>
        </p:spPr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B52804F-8F5C-49BE-A42A-26CEFD2F65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8567" y="-8288"/>
            <a:ext cx="7884021" cy="685800"/>
          </a:xfrm>
        </p:spPr>
        <p:txBody>
          <a:bodyPr/>
          <a:lstStyle/>
          <a:p>
            <a:r>
              <a:rPr lang="en-US" dirty="0"/>
              <a:t>USB Top 3 Prioriti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07A3230-131E-44AB-B10D-B27D90BC1689}"/>
              </a:ext>
            </a:extLst>
          </p:cNvPr>
          <p:cNvGrpSpPr/>
          <p:nvPr/>
        </p:nvGrpSpPr>
        <p:grpSpPr>
          <a:xfrm>
            <a:off x="0" y="806202"/>
            <a:ext cx="9144001" cy="5217988"/>
            <a:chOff x="1132183" y="685800"/>
            <a:chExt cx="6929623" cy="371475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83ACDC5-5866-4980-A20D-98C4273631AB}"/>
                </a:ext>
              </a:extLst>
            </p:cNvPr>
            <p:cNvSpPr/>
            <p:nvPr/>
          </p:nvSpPr>
          <p:spPr>
            <a:xfrm>
              <a:off x="1314454" y="685800"/>
              <a:ext cx="2096162" cy="3714750"/>
            </a:xfrm>
            <a:prstGeom prst="rect">
              <a:avLst/>
            </a:prstGeom>
            <a:solidFill>
              <a:srgbClr val="ED3D2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365C9C1-8BEA-42C2-87AA-6883326197EE}"/>
                </a:ext>
              </a:extLst>
            </p:cNvPr>
            <p:cNvSpPr/>
            <p:nvPr/>
          </p:nvSpPr>
          <p:spPr>
            <a:xfrm>
              <a:off x="3523921" y="685800"/>
              <a:ext cx="2096162" cy="3714750"/>
            </a:xfrm>
            <a:prstGeom prst="rect">
              <a:avLst/>
            </a:prstGeom>
            <a:solidFill>
              <a:srgbClr val="38BAC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5C5ED1E-BB48-429A-A237-AF10274B7F1F}"/>
                </a:ext>
              </a:extLst>
            </p:cNvPr>
            <p:cNvSpPr/>
            <p:nvPr/>
          </p:nvSpPr>
          <p:spPr>
            <a:xfrm>
              <a:off x="5733391" y="685800"/>
              <a:ext cx="2096162" cy="3714750"/>
            </a:xfrm>
            <a:prstGeom prst="rect">
              <a:avLst/>
            </a:prstGeom>
            <a:solidFill>
              <a:srgbClr val="06589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4AA86BB5-8ABA-4E08-8656-86374ADD9BC2}"/>
                </a:ext>
              </a:extLst>
            </p:cNvPr>
            <p:cNvCxnSpPr>
              <a:cxnSpLocks/>
            </p:cNvCxnSpPr>
            <p:nvPr/>
          </p:nvCxnSpPr>
          <p:spPr>
            <a:xfrm>
              <a:off x="1132183" y="2571750"/>
              <a:ext cx="6929623" cy="0"/>
            </a:xfrm>
            <a:prstGeom prst="line">
              <a:avLst/>
            </a:prstGeom>
            <a:ln w="1270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1D9D50E5-57FE-4456-9B04-1964E8E00B1D}"/>
              </a:ext>
            </a:extLst>
          </p:cNvPr>
          <p:cNvCxnSpPr>
            <a:cxnSpLocks/>
            <a:stCxn id="34" idx="0"/>
          </p:cNvCxnSpPr>
          <p:nvPr/>
        </p:nvCxnSpPr>
        <p:spPr>
          <a:xfrm>
            <a:off x="1691673" y="3228039"/>
            <a:ext cx="0" cy="497065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7E56DB68-5886-4970-AE55-A9BD28FA8104}"/>
              </a:ext>
            </a:extLst>
          </p:cNvPr>
          <p:cNvCxnSpPr>
            <a:cxnSpLocks/>
          </p:cNvCxnSpPr>
          <p:nvPr/>
        </p:nvCxnSpPr>
        <p:spPr>
          <a:xfrm>
            <a:off x="4591241" y="3235970"/>
            <a:ext cx="0" cy="485276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5AB2A99-E149-43F5-ACA0-2D41E8B976AB}"/>
              </a:ext>
            </a:extLst>
          </p:cNvPr>
          <p:cNvCxnSpPr>
            <a:cxnSpLocks/>
          </p:cNvCxnSpPr>
          <p:nvPr/>
        </p:nvCxnSpPr>
        <p:spPr>
          <a:xfrm>
            <a:off x="7477002" y="3228039"/>
            <a:ext cx="0" cy="487135"/>
          </a:xfrm>
          <a:prstGeom prst="straightConnector1">
            <a:avLst/>
          </a:prstGeom>
          <a:ln w="57150">
            <a:solidFill>
              <a:schemeClr val="bg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71A8DDBF-C0D7-4F09-8E10-212265DD36DB}"/>
              </a:ext>
            </a:extLst>
          </p:cNvPr>
          <p:cNvSpPr/>
          <p:nvPr/>
        </p:nvSpPr>
        <p:spPr>
          <a:xfrm>
            <a:off x="231745" y="3314866"/>
            <a:ext cx="8604682" cy="2262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5" name="Content Placeholder 1">
            <a:extLst>
              <a:ext uri="{FF2B5EF4-FFF2-40B4-BE49-F238E27FC236}">
                <a16:creationId xmlns:a16="http://schemas.microsoft.com/office/drawing/2014/main" id="{6869C389-D71D-4CEC-8E9B-94ECECD39F86}"/>
              </a:ext>
            </a:extLst>
          </p:cNvPr>
          <p:cNvSpPr txBox="1">
            <a:spLocks/>
          </p:cNvSpPr>
          <p:nvPr/>
        </p:nvSpPr>
        <p:spPr>
          <a:xfrm>
            <a:off x="486789" y="2008522"/>
            <a:ext cx="2409768" cy="1227448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/>
              <a:buNone/>
            </a:pP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Provide Veterans with the benefits they have earned in a manner that honors their service</a:t>
            </a:r>
          </a:p>
          <a:p>
            <a:pPr marL="0" indent="0" algn="ctr">
              <a:buFont typeface="Arial"/>
              <a:buNone/>
            </a:pPr>
            <a:endParaRPr lang="en-US" sz="1800" i="1" dirty="0">
              <a:solidFill>
                <a:schemeClr val="bg1"/>
              </a:solidFill>
              <a:latin typeface="Georgia"/>
              <a:cs typeface="Arial" panose="020B0604020202020204" pitchFamily="34" charset="0"/>
            </a:endParaRPr>
          </a:p>
          <a:p>
            <a:pPr marL="0" indent="0" algn="ctr">
              <a:buFont typeface="Arial"/>
              <a:buNone/>
            </a:pPr>
            <a:endParaRPr lang="en-US" sz="18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CCB3557B-3775-467F-8505-0E15AB232F8D}"/>
              </a:ext>
            </a:extLst>
          </p:cNvPr>
          <p:cNvSpPr txBox="1">
            <a:spLocks/>
          </p:cNvSpPr>
          <p:nvPr/>
        </p:nvSpPr>
        <p:spPr>
          <a:xfrm>
            <a:off x="3329202" y="1898546"/>
            <a:ext cx="2409768" cy="120532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Ensure we are </a:t>
            </a:r>
            <a:b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strong fiscal stewards </a:t>
            </a:r>
            <a:b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of the money </a:t>
            </a:r>
            <a:b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entrusted to us</a:t>
            </a:r>
          </a:p>
          <a:p>
            <a:pPr marL="0" indent="0" algn="ctr">
              <a:buNone/>
            </a:pPr>
            <a:endParaRPr lang="en-US" sz="1800" i="1" dirty="0">
              <a:solidFill>
                <a:schemeClr val="bg1"/>
              </a:solidFill>
              <a:latin typeface="Georgia"/>
              <a:cs typeface="Georgia"/>
            </a:endParaRPr>
          </a:p>
          <a:p>
            <a:pPr marL="0" indent="0" algn="ctr">
              <a:buNone/>
            </a:pPr>
            <a:endParaRPr lang="en-US" sz="1800" i="1" dirty="0">
              <a:solidFill>
                <a:schemeClr val="bg1"/>
              </a:solidFill>
              <a:latin typeface="Georgia"/>
              <a:cs typeface="Georgia"/>
            </a:endParaRPr>
          </a:p>
        </p:txBody>
      </p:sp>
      <p:sp>
        <p:nvSpPr>
          <p:cNvPr id="27" name="Content Placeholder 1">
            <a:extLst>
              <a:ext uri="{FF2B5EF4-FFF2-40B4-BE49-F238E27FC236}">
                <a16:creationId xmlns:a16="http://schemas.microsoft.com/office/drawing/2014/main" id="{E218616E-913C-45F3-A0B2-8A45256D519B}"/>
              </a:ext>
            </a:extLst>
          </p:cNvPr>
          <p:cNvSpPr txBox="1">
            <a:spLocks/>
          </p:cNvSpPr>
          <p:nvPr/>
        </p:nvSpPr>
        <p:spPr>
          <a:xfrm>
            <a:off x="6216736" y="1882370"/>
            <a:ext cx="2409768" cy="9906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Foster a culture </a:t>
            </a:r>
            <a:b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</a:br>
            <a:r>
              <a:rPr lang="en-US" sz="1800" i="1" dirty="0">
                <a:solidFill>
                  <a:schemeClr val="bg1"/>
                </a:solidFill>
                <a:latin typeface="Georgia"/>
                <a:cs typeface="Georgia"/>
              </a:rPr>
              <a:t>of collaboration</a:t>
            </a:r>
          </a:p>
          <a:p>
            <a:pPr marL="0" indent="0" algn="ctr">
              <a:lnSpc>
                <a:spcPct val="90000"/>
              </a:lnSpc>
              <a:spcAft>
                <a:spcPts val="600"/>
              </a:spcAft>
              <a:buNone/>
            </a:pPr>
            <a:endParaRPr lang="en-US" sz="1800" dirty="0">
              <a:solidFill>
                <a:schemeClr val="bg1"/>
              </a:solidFill>
            </a:endParaRPr>
          </a:p>
          <a:p>
            <a:pPr marL="0" indent="0" algn="ctr">
              <a:lnSpc>
                <a:spcPct val="90000"/>
              </a:lnSpc>
              <a:spcAft>
                <a:spcPts val="600"/>
              </a:spcAft>
              <a:buNone/>
            </a:pPr>
            <a:endParaRPr lang="en-US" sz="1800" i="1" dirty="0">
              <a:solidFill>
                <a:schemeClr val="bg1"/>
              </a:solidFill>
              <a:latin typeface="Georgia"/>
              <a:cs typeface="Georgia"/>
            </a:endParaRPr>
          </a:p>
          <a:p>
            <a:pPr marL="0" indent="0">
              <a:buNone/>
            </a:pPr>
            <a:endParaRPr lang="en-US" sz="1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 descr="hand shake.png">
            <a:extLst>
              <a:ext uri="{FF2B5EF4-FFF2-40B4-BE49-F238E27FC236}">
                <a16:creationId xmlns:a16="http://schemas.microsoft.com/office/drawing/2014/main" id="{852DFC65-3613-454F-B00D-E084C3FB94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009" y="1172991"/>
            <a:ext cx="772634" cy="544873"/>
          </a:xfrm>
          <a:prstGeom prst="rect">
            <a:avLst/>
          </a:prstGeom>
        </p:spPr>
      </p:pic>
      <p:pic>
        <p:nvPicPr>
          <p:cNvPr id="29" name="Picture 28" descr="money.png">
            <a:extLst>
              <a:ext uri="{FF2B5EF4-FFF2-40B4-BE49-F238E27FC236}">
                <a16:creationId xmlns:a16="http://schemas.microsoft.com/office/drawing/2014/main" id="{E3AF3353-8FD9-471A-8988-4C9AC84C8F7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705" y="989591"/>
            <a:ext cx="772634" cy="811557"/>
          </a:xfrm>
          <a:prstGeom prst="rect">
            <a:avLst/>
          </a:prstGeom>
        </p:spPr>
      </p:pic>
      <p:pic>
        <p:nvPicPr>
          <p:cNvPr id="30" name="Picture 29" descr="tags.png">
            <a:extLst>
              <a:ext uri="{FF2B5EF4-FFF2-40B4-BE49-F238E27FC236}">
                <a16:creationId xmlns:a16="http://schemas.microsoft.com/office/drawing/2014/main" id="{5F7B7AE9-FE3A-455F-BCA7-B487CF6D117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8374" y="888014"/>
            <a:ext cx="769082" cy="99905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685233E-5534-4CE0-8FEC-FF78CBFD22D0}"/>
              </a:ext>
            </a:extLst>
          </p:cNvPr>
          <p:cNvSpPr/>
          <p:nvPr/>
        </p:nvSpPr>
        <p:spPr>
          <a:xfrm>
            <a:off x="267690" y="3670785"/>
            <a:ext cx="274766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Received 99% of Eligibility requests electronically w/65% issued immediately.  Requests with VA Staff Intervention 99.5% issued in 5 days/47.1% determined within 1 day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908CD33-F26C-4BDB-9CD9-BB14E0F45FB5}"/>
              </a:ext>
            </a:extLst>
          </p:cNvPr>
          <p:cNvSpPr/>
          <p:nvPr/>
        </p:nvSpPr>
        <p:spPr>
          <a:xfrm>
            <a:off x="3091313" y="3670785"/>
            <a:ext cx="275039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In FY 2018, VA helped save 104, 752 Veterans from foreclosure and the program 2.6 Billion in potential claim pay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47321DA-5C51-4C04-932F-953902922FF3}"/>
              </a:ext>
            </a:extLst>
          </p:cNvPr>
          <p:cNvSpPr/>
          <p:nvPr/>
        </p:nvSpPr>
        <p:spPr>
          <a:xfrm>
            <a:off x="5946587" y="3715174"/>
            <a:ext cx="2766001" cy="183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r>
              <a:rPr lang="en-US" dirty="0">
                <a:solidFill>
                  <a:schemeClr val="bg1"/>
                </a:solidFill>
              </a:rPr>
              <a:t>Answering phones in less than 20 seconds, zero blocked calls, and working with the National Call Centers to provide efficiency to our Loan Guaranty Experts 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EB7F134-7E36-4AB1-8A87-5FF2D6D41B73}"/>
              </a:ext>
            </a:extLst>
          </p:cNvPr>
          <p:cNvSpPr/>
          <p:nvPr/>
        </p:nvSpPr>
        <p:spPr>
          <a:xfrm>
            <a:off x="428237" y="3228039"/>
            <a:ext cx="25268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spc="4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C4FECE4-5337-4BF3-BC67-6F726682ADB6}"/>
              </a:ext>
            </a:extLst>
          </p:cNvPr>
          <p:cNvSpPr/>
          <p:nvPr/>
        </p:nvSpPr>
        <p:spPr>
          <a:xfrm>
            <a:off x="3194233" y="3235970"/>
            <a:ext cx="27659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spc="4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EC40C65-6DAF-4154-8C97-E376B5D9132D}"/>
              </a:ext>
            </a:extLst>
          </p:cNvPr>
          <p:cNvSpPr/>
          <p:nvPr/>
        </p:nvSpPr>
        <p:spPr>
          <a:xfrm>
            <a:off x="6116783" y="3228039"/>
            <a:ext cx="267108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spc="400" dirty="0">
                <a:solidFill>
                  <a:schemeClr val="bg1">
                    <a:lumMod val="50000"/>
                  </a:schemeClr>
                </a:solidFill>
              </a:rPr>
              <a:t>PROGRESS</a:t>
            </a:r>
          </a:p>
        </p:txBody>
      </p:sp>
      <p:pic>
        <p:nvPicPr>
          <p:cNvPr id="43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48AC279-959F-40E1-8A0A-779A9B35EA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10695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4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cs typeface="Arial" panose="020B0604020202020204" pitchFamily="34" charset="0"/>
              </a:rPr>
              <a:t>My Daily Focus – Guiding Principles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8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688832893"/>
              </p:ext>
            </p:extLst>
          </p:nvPr>
        </p:nvGraphicFramePr>
        <p:xfrm>
          <a:off x="76200" y="914400"/>
          <a:ext cx="89916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6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5B5C1F6D-A2FD-4BF3-A0C3-AD5F7DA525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88172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5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198" y="0"/>
            <a:ext cx="8305801" cy="685800"/>
          </a:xfrm>
        </p:spPr>
        <p:txBody>
          <a:bodyPr/>
          <a:lstStyle/>
          <a:p>
            <a:pPr algn="l"/>
            <a:br>
              <a:rPr lang="en-US" dirty="0"/>
            </a:br>
            <a:r>
              <a:rPr lang="en-US" sz="3000" dirty="0">
                <a:cs typeface="Arial" panose="020B0604020202020204" pitchFamily="34" charset="0"/>
              </a:rPr>
              <a:t>Strategic Goals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76200" y="1676400"/>
            <a:ext cx="1828800" cy="8382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Our Workfor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438400" y="1676400"/>
            <a:ext cx="1828800" cy="8382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gram Innovation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800600" y="1676400"/>
            <a:ext cx="1828800" cy="8382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Quality Customer Servic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62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Attract and retain a workforce with the skills, knowledge and commitment necessary to serve Veteran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4384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Ensure the program remains adaptable and innovative so that the VA Home Loan is the product of cho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8006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Deliver a quality customer experience to Veterans through consistent, timely, and accurate benefits and services that meet their needs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162800" y="1676400"/>
            <a:ext cx="1828800" cy="8382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eteran Advocacy</a:t>
            </a:r>
          </a:p>
        </p:txBody>
      </p:sp>
      <p:sp>
        <p:nvSpPr>
          <p:cNvPr id="19" name="Rectangle 18"/>
          <p:cNvSpPr/>
          <p:nvPr/>
        </p:nvSpPr>
        <p:spPr>
          <a:xfrm>
            <a:off x="7162800" y="2514600"/>
            <a:ext cx="1828800" cy="2743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Serve as the leading voice in Veterans’ housing issues.</a:t>
            </a:r>
          </a:p>
        </p:txBody>
      </p:sp>
      <p:pic>
        <p:nvPicPr>
          <p:cNvPr id="20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82FAF83B-7F95-4D6F-9E07-610CC18873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63839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6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>
                <a:cs typeface="Arial" panose="020B0604020202020204" pitchFamily="34" charset="0"/>
              </a:rPr>
              <a:t>Near-Term Strategic Objectives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3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020096" y="990600"/>
            <a:ext cx="7438104" cy="818536"/>
          </a:xfrm>
          <a:prstGeom prst="rect">
            <a:avLst/>
          </a:prstGeom>
          <a:solidFill>
            <a:srgbClr val="D0E3EA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ximize the number of  VA Loan Certificates of Eligibility provided instantaneously. Ensure all manual-touch COE requests are processed in 5 business days or less.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020096" y="1961536"/>
            <a:ext cx="7438104" cy="818536"/>
          </a:xfrm>
          <a:prstGeom prst="rect">
            <a:avLst/>
          </a:prstGeom>
          <a:solidFill>
            <a:srgbClr val="D6F4CE">
              <a:alpha val="8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Strive to assign appraisals at the time of request, and ensure no appraisal waits more than 2 business days for assignment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020096" y="3886200"/>
            <a:ext cx="7438104" cy="818536"/>
          </a:xfrm>
          <a:prstGeom prst="rect">
            <a:avLst/>
          </a:prstGeom>
          <a:solidFill>
            <a:srgbClr val="EDEAF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Work to process active Specially Adapted Housing (SAH) cases within 120 business day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020096" y="2895600"/>
            <a:ext cx="7438104" cy="818536"/>
          </a:xfrm>
          <a:prstGeom prst="rect">
            <a:avLst/>
          </a:prstGeom>
          <a:solidFill>
            <a:srgbClr val="FCDDCF">
              <a:alpha val="89804"/>
            </a:srgb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Maintain Default Resolution Rate of at least 85%</a:t>
            </a:r>
          </a:p>
        </p:txBody>
      </p:sp>
      <p:sp>
        <p:nvSpPr>
          <p:cNvPr id="19" name="Oval 18"/>
          <p:cNvSpPr/>
          <p:nvPr/>
        </p:nvSpPr>
        <p:spPr>
          <a:xfrm>
            <a:off x="612165" y="1127037"/>
            <a:ext cx="541694" cy="573049"/>
          </a:xfrm>
          <a:prstGeom prst="ellipse">
            <a:avLst/>
          </a:prstGeom>
          <a:solidFill>
            <a:schemeClr val="accent5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612165" y="2095610"/>
            <a:ext cx="541694" cy="573049"/>
          </a:xfrm>
          <a:prstGeom prst="ellipse">
            <a:avLst/>
          </a:prstGeom>
          <a:solidFill>
            <a:srgbClr val="60E1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12165" y="3032119"/>
            <a:ext cx="541694" cy="573049"/>
          </a:xfrm>
          <a:prstGeom prst="ellipse">
            <a:avLst/>
          </a:prstGeom>
          <a:solidFill>
            <a:srgbClr val="F796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612165" y="4020356"/>
            <a:ext cx="541694" cy="573049"/>
          </a:xfrm>
          <a:prstGeom prst="ellipse">
            <a:avLst/>
          </a:prstGeom>
          <a:solidFill>
            <a:schemeClr val="accent4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020096" y="4876800"/>
            <a:ext cx="7438104" cy="818536"/>
          </a:xfrm>
          <a:prstGeom prst="rect">
            <a:avLst/>
          </a:prstGeom>
          <a:solidFill>
            <a:srgbClr val="F4E9E9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Ensure the VA Home Loan program exceeds housing industry benchmarks for key metrics, so that it is viewed by stakeholders as a model program. </a:t>
            </a:r>
          </a:p>
        </p:txBody>
      </p:sp>
      <p:sp>
        <p:nvSpPr>
          <p:cNvPr id="24" name="Oval 23"/>
          <p:cNvSpPr/>
          <p:nvPr/>
        </p:nvSpPr>
        <p:spPr>
          <a:xfrm>
            <a:off x="612165" y="5010956"/>
            <a:ext cx="541694" cy="573049"/>
          </a:xfrm>
          <a:prstGeom prst="ellipse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4796" y="1123336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prstClr val="white"/>
                </a:solidFill>
              </a:rPr>
              <a:t>1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24796" y="2091909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24796" y="3028418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24796" y="4016655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prstClr val="white"/>
                </a:solidFill>
              </a:rPr>
              <a:t>4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4796" y="5007255"/>
            <a:ext cx="770604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914400"/>
            <a:r>
              <a:rPr lang="en-US" sz="3200" b="1" dirty="0">
                <a:solidFill>
                  <a:prstClr val="white"/>
                </a:solidFill>
              </a:rPr>
              <a:t>5</a:t>
            </a:r>
            <a:endParaRPr lang="en-US" b="1" dirty="0">
              <a:solidFill>
                <a:prstClr val="white"/>
              </a:solidFill>
            </a:endParaRPr>
          </a:p>
        </p:txBody>
      </p:sp>
      <p:pic>
        <p:nvPicPr>
          <p:cNvPr id="30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3B4B4E36-8437-4488-A193-6342D96ADC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73117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7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sp>
        <p:nvSpPr>
          <p:cNvPr id="6" name="Title 3"/>
          <p:cNvSpPr txBox="1">
            <a:spLocks/>
          </p:cNvSpPr>
          <p:nvPr/>
        </p:nvSpPr>
        <p:spPr bwMode="auto">
          <a:xfrm>
            <a:off x="234649" y="736600"/>
            <a:ext cx="82296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194685492"/>
              </p:ext>
            </p:extLst>
          </p:nvPr>
        </p:nvGraphicFramePr>
        <p:xfrm>
          <a:off x="685799" y="1104900"/>
          <a:ext cx="7778449" cy="46863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" name="Title 3"/>
          <p:cNvSpPr txBox="1">
            <a:spLocks/>
          </p:cNvSpPr>
          <p:nvPr/>
        </p:nvSpPr>
        <p:spPr>
          <a:xfrm>
            <a:off x="914400" y="0"/>
            <a:ext cx="8229600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400" dirty="0"/>
              <a:t>Interesting Facts</a:t>
            </a:r>
          </a:p>
        </p:txBody>
      </p:sp>
      <p:pic>
        <p:nvPicPr>
          <p:cNvPr id="10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4E6374C3-4BB0-4B60-A648-6CD761BBCB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1314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8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9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220712"/>
              </p:ext>
            </p:extLst>
          </p:nvPr>
        </p:nvGraphicFramePr>
        <p:xfrm>
          <a:off x="457200" y="914400"/>
          <a:ext cx="8229600" cy="492572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095738">
                <a:tc>
                  <a:txBody>
                    <a:bodyPr/>
                    <a:lstStyle/>
                    <a:p>
                      <a:pPr algn="ctr"/>
                      <a:r>
                        <a:rPr lang="en-US" sz="2300" b="1" dirty="0">
                          <a:solidFill>
                            <a:schemeClr val="tx1"/>
                          </a:solidFill>
                        </a:rPr>
                        <a:t>Guaranteed Loa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chemeClr val="tx1"/>
                          </a:solidFill>
                        </a:rPr>
                        <a:t>FY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chemeClr val="tx1"/>
                          </a:solidFill>
                        </a:rPr>
                        <a:t>FY1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chemeClr val="tx1"/>
                          </a:solidFill>
                        </a:rPr>
                        <a:t>FY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>
                          <a:solidFill>
                            <a:schemeClr val="tx1"/>
                          </a:solidFill>
                        </a:rPr>
                        <a:t>FY1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Purchase Loan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83,1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80,4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53,0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22,1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Total Refinance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227,398</a:t>
                      </a:r>
                      <a:r>
                        <a:rPr lang="en-US" sz="240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59,9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52,4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309,0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IRRR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67,3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90,9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215,5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94,80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Cash-Ou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58,8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66,8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35,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12,3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i="1" dirty="0">
                          <a:solidFill>
                            <a:schemeClr val="tx1"/>
                          </a:solidFill>
                        </a:rPr>
                        <a:t>Other Refi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,2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2,1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,5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dirty="0">
                          <a:solidFill>
                            <a:schemeClr val="tx1"/>
                          </a:solidFill>
                        </a:rPr>
                        <a:t>1,8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34833">
                <a:tc>
                  <a:txBody>
                    <a:bodyPr/>
                    <a:lstStyle/>
                    <a:p>
                      <a:r>
                        <a:rPr lang="en-US" b="1" i="1" dirty="0">
                          <a:solidFill>
                            <a:schemeClr val="tx1"/>
                          </a:solidFill>
                        </a:rPr>
                        <a:t>Total Loan Volu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610,5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740,3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705,4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400" b="1" dirty="0">
                          <a:solidFill>
                            <a:schemeClr val="tx1"/>
                          </a:solidFill>
                        </a:rPr>
                        <a:t>631,1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3" name="Title 3"/>
          <p:cNvSpPr txBox="1">
            <a:spLocks/>
          </p:cNvSpPr>
          <p:nvPr/>
        </p:nvSpPr>
        <p:spPr>
          <a:xfrm>
            <a:off x="838198" y="0"/>
            <a:ext cx="8305801" cy="685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br>
              <a:rPr lang="en-US" dirty="0"/>
            </a:br>
            <a:r>
              <a:rPr lang="en-US" sz="3000" dirty="0">
                <a:cs typeface="Arial" panose="020B0604020202020204" pitchFamily="34" charset="0"/>
              </a:rPr>
              <a:t>Loan Volume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7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559995E7-373E-43B2-A568-D2E7F2530E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96213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z="2000" smtClean="0">
                <a:solidFill>
                  <a:prstClr val="white"/>
                </a:solidFill>
              </a:rPr>
              <a:pPr/>
              <a:t>9</a:t>
            </a:fld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38200" y="0"/>
            <a:ext cx="8305800" cy="685800"/>
          </a:xfrm>
        </p:spPr>
        <p:txBody>
          <a:bodyPr/>
          <a:lstStyle/>
          <a:p>
            <a:pPr algn="l"/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>
                <a:cs typeface="Arial" panose="020B0604020202020204" pitchFamily="34" charset="0"/>
              </a:rPr>
              <a:t>Loan Volume FY03-FY18 Chart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/>
          </a:p>
        </p:txBody>
      </p:sp>
      <p:pic>
        <p:nvPicPr>
          <p:cNvPr id="13" name="Picture 11"/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3" y="76063"/>
            <a:ext cx="610847" cy="60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/>
        </p:nvGraphicFramePr>
        <p:xfrm>
          <a:off x="933450" y="1797843"/>
          <a:ext cx="7277100" cy="3262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E81B9E0-7B3A-4527-B1B9-FE8686B2A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1" y="6172200"/>
            <a:ext cx="2037559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5946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3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8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terms/"/>
    <ds:schemaRef ds:uri="58713316-8334-4bf4-a6fe-1fea435260dd"/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972</TotalTime>
  <Words>687</Words>
  <Application>Microsoft Office PowerPoint</Application>
  <PresentationFormat>On-screen Show (4:3)</PresentationFormat>
  <Paragraphs>162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43" baseType="lpstr">
      <vt:lpstr>MS PGothic</vt:lpstr>
      <vt:lpstr>Arial</vt:lpstr>
      <vt:lpstr>Calibri</vt:lpstr>
      <vt:lpstr>Courier New</vt:lpstr>
      <vt:lpstr>Georgia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10_Office Theme</vt:lpstr>
      <vt:lpstr>12_Office Theme</vt:lpstr>
      <vt:lpstr>36_Office Theme</vt:lpstr>
      <vt:lpstr>39_Office Theme</vt:lpstr>
      <vt:lpstr>14_Office Theme</vt:lpstr>
      <vt:lpstr>OM Standard Slides</vt:lpstr>
      <vt:lpstr>37_Office Theme</vt:lpstr>
      <vt:lpstr>38_Office Theme</vt:lpstr>
      <vt:lpstr>think-cell Slide</vt:lpstr>
      <vt:lpstr>Veterans Benefits Administration</vt:lpstr>
      <vt:lpstr> Mission &amp; Vision </vt:lpstr>
      <vt:lpstr>USB Top 3 Priorities</vt:lpstr>
      <vt:lpstr> My Daily Focus – Guiding Principles </vt:lpstr>
      <vt:lpstr> Strategic Goals </vt:lpstr>
      <vt:lpstr>  Near-Term Strategic Objectives  </vt:lpstr>
      <vt:lpstr>        </vt:lpstr>
      <vt:lpstr>      </vt:lpstr>
      <vt:lpstr>  Loan Volume FY03-FY18 Chart  </vt:lpstr>
      <vt:lpstr>   </vt:lpstr>
      <vt:lpstr>Sampling of Projects (This Year)</vt:lpstr>
      <vt:lpstr>Challenges – Solved in FY 2018</vt:lpstr>
      <vt:lpstr>PowerPoint Presentation</vt:lpstr>
    </vt:vector>
  </TitlesOfParts>
  <Company>Veteran Affai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London, Jeffrey, VBAVACO</cp:lastModifiedBy>
  <cp:revision>975</cp:revision>
  <cp:lastPrinted>2017-11-03T20:22:48Z</cp:lastPrinted>
  <dcterms:created xsi:type="dcterms:W3CDTF">2016-05-04T17:57:56Z</dcterms:created>
  <dcterms:modified xsi:type="dcterms:W3CDTF">2019-04-26T04:0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